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4.xml" ContentType="application/vnd.openxmlformats-officedocument.theme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heme/theme5.xml" ContentType="application/vnd.openxmlformats-officedocument.theme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535.xml" ContentType="application/vnd.openxmlformats-officedocument.presentationml.tags+xml"/>
  <Override PartName="/ppt/notesSlides/notesSlide7.xml" ContentType="application/vnd.openxmlformats-officedocument.presentationml.notesSlide+xml"/>
  <Override PartName="/ppt/tags/tag53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545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9" r:id="rId2"/>
    <p:sldMasterId id="2147483699" r:id="rId3"/>
    <p:sldMasterId id="2147483716" r:id="rId4"/>
  </p:sldMasterIdLst>
  <p:notesMasterIdLst>
    <p:notesMasterId r:id="rId27"/>
  </p:notesMasterIdLst>
  <p:sldIdLst>
    <p:sldId id="2147471162" r:id="rId5"/>
    <p:sldId id="2147471589" r:id="rId6"/>
    <p:sldId id="257" r:id="rId7"/>
    <p:sldId id="259" r:id="rId8"/>
    <p:sldId id="260" r:id="rId9"/>
    <p:sldId id="269" r:id="rId10"/>
    <p:sldId id="315" r:id="rId11"/>
    <p:sldId id="2147471166" r:id="rId12"/>
    <p:sldId id="2147471169" r:id="rId13"/>
    <p:sldId id="2147471157" r:id="rId14"/>
    <p:sldId id="2147471563" r:id="rId15"/>
    <p:sldId id="2147471544" r:id="rId16"/>
    <p:sldId id="289" r:id="rId17"/>
    <p:sldId id="2147471533" r:id="rId18"/>
    <p:sldId id="2147471170" r:id="rId19"/>
    <p:sldId id="2147471545" r:id="rId20"/>
    <p:sldId id="337" r:id="rId21"/>
    <p:sldId id="2147471551" r:id="rId22"/>
    <p:sldId id="2147471588" r:id="rId23"/>
    <p:sldId id="2147471587" r:id="rId24"/>
    <p:sldId id="264" r:id="rId25"/>
    <p:sldId id="291" r:id="rId26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56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2833802-FEF1-4C79-8D5D-14CF1EAF98D9}" styleName="Estilo Claro 2 - Ênfas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2106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athe\Desktop\MATHEUS%20-%20IDV%20-%202023\Patah%20Arquivos\haddad\Empregos%20Cross%20Border\Matriz%20Insumo%20Produto%20-%202018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077822879872908E-2"/>
          <c:y val="4.8291129623258724E-2"/>
          <c:w val="0.96984433025919625"/>
          <c:h val="0.85783191737095854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E5566E"/>
            </a:solidFill>
            <a:ln>
              <a:noFill/>
            </a:ln>
            <a:effectLst>
              <a:glow rad="50800">
                <a:srgbClr val="E5566E"/>
              </a:glow>
            </a:effectLst>
            <a:scene3d>
              <a:camera prst="orthographicFront"/>
              <a:lightRig rig="sunset" dir="t"/>
            </a:scene3d>
            <a:sp3d prstMaterial="matte"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acional '!$B$2:$B$11</c:f>
              <c:strCache>
                <c:ptCount val="10"/>
                <c:pt idx="0">
                  <c:v>Eletrônicos </c:v>
                </c:pt>
                <c:pt idx="1">
                  <c:v>Beleza</c:v>
                </c:pt>
                <c:pt idx="2">
                  <c:v>Brinquedos </c:v>
                </c:pt>
                <c:pt idx="3">
                  <c:v>Acessórios</c:v>
                </c:pt>
                <c:pt idx="4">
                  <c:v>Eletrodomésticos </c:v>
                </c:pt>
                <c:pt idx="5">
                  <c:v>Material de Construção </c:v>
                </c:pt>
                <c:pt idx="6">
                  <c:v>Farmácia (higiene pessoal)</c:v>
                </c:pt>
                <c:pt idx="7">
                  <c:v>PET</c:v>
                </c:pt>
                <c:pt idx="8">
                  <c:v>Vestuário/Calçados </c:v>
                </c:pt>
                <c:pt idx="9">
                  <c:v>Alimentos </c:v>
                </c:pt>
              </c:strCache>
            </c:strRef>
          </c:cat>
          <c:val>
            <c:numRef>
              <c:f>'Nacional '!$C$2:$C$11</c:f>
              <c:numCache>
                <c:formatCode>0.00%</c:formatCode>
                <c:ptCount val="10"/>
                <c:pt idx="0">
                  <c:v>1.4298</c:v>
                </c:pt>
                <c:pt idx="1">
                  <c:v>1.3030999999999999</c:v>
                </c:pt>
                <c:pt idx="2">
                  <c:v>1.2867</c:v>
                </c:pt>
                <c:pt idx="3">
                  <c:v>1.2108000000000001</c:v>
                </c:pt>
                <c:pt idx="4">
                  <c:v>1.1302000000000001</c:v>
                </c:pt>
                <c:pt idx="5">
                  <c:v>1.1246</c:v>
                </c:pt>
                <c:pt idx="6">
                  <c:v>0.98980000000000001</c:v>
                </c:pt>
                <c:pt idx="7">
                  <c:v>0.92049999999999998</c:v>
                </c:pt>
                <c:pt idx="8">
                  <c:v>0.9204</c:v>
                </c:pt>
                <c:pt idx="9">
                  <c:v>0.6794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AAD-412C-8ADB-497C248E9E3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60"/>
        <c:overlap val="-27"/>
        <c:axId val="1633853199"/>
        <c:axId val="1328998783"/>
      </c:barChart>
      <c:catAx>
        <c:axId val="16338531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328998783"/>
        <c:crosses val="autoZero"/>
        <c:auto val="1"/>
        <c:lblAlgn val="ctr"/>
        <c:lblOffset val="100"/>
        <c:noMultiLvlLbl val="0"/>
      </c:catAx>
      <c:valAx>
        <c:axId val="1328998783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1633853199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7685376790571967E-4"/>
          <c:y val="4.064089951857601E-2"/>
          <c:w val="0.9746941767714099"/>
          <c:h val="0.8532690190209543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Importados '!$B$2:$B$11</c:f>
              <c:strCache>
                <c:ptCount val="10"/>
                <c:pt idx="0">
                  <c:v>Beleza</c:v>
                </c:pt>
                <c:pt idx="1">
                  <c:v>Brinquedos</c:v>
                </c:pt>
                <c:pt idx="2">
                  <c:v>Vestuário/Calçados</c:v>
                </c:pt>
                <c:pt idx="3">
                  <c:v>Acessórios</c:v>
                </c:pt>
                <c:pt idx="4">
                  <c:v>Eletrônicos </c:v>
                </c:pt>
                <c:pt idx="5">
                  <c:v>Eletrodomésticos </c:v>
                </c:pt>
                <c:pt idx="6">
                  <c:v>Material de Construção </c:v>
                </c:pt>
                <c:pt idx="7">
                  <c:v>PET</c:v>
                </c:pt>
                <c:pt idx="8">
                  <c:v>Farmácia (higiene pessoal)</c:v>
                </c:pt>
                <c:pt idx="9">
                  <c:v>Alimentos </c:v>
                </c:pt>
              </c:strCache>
            </c:strRef>
          </c:cat>
          <c:val>
            <c:numRef>
              <c:f>'Importados '!$C$2:$C$11</c:f>
              <c:numCache>
                <c:formatCode>0.00%</c:formatCode>
                <c:ptCount val="10"/>
                <c:pt idx="0">
                  <c:v>1.1811</c:v>
                </c:pt>
                <c:pt idx="1">
                  <c:v>1.1335999999999999</c:v>
                </c:pt>
                <c:pt idx="2">
                  <c:v>1.0991</c:v>
                </c:pt>
                <c:pt idx="3">
                  <c:v>1.0955999999999999</c:v>
                </c:pt>
                <c:pt idx="4">
                  <c:v>1.0815999999999999</c:v>
                </c:pt>
                <c:pt idx="5">
                  <c:v>1.0169999999999999</c:v>
                </c:pt>
                <c:pt idx="6">
                  <c:v>1.0064</c:v>
                </c:pt>
                <c:pt idx="7">
                  <c:v>0.86299999999999999</c:v>
                </c:pt>
                <c:pt idx="8">
                  <c:v>0.8518</c:v>
                </c:pt>
                <c:pt idx="9">
                  <c:v>0.6374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6D-474C-A9F1-F47CE491DDE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0"/>
        <c:overlap val="-27"/>
        <c:axId val="1545545199"/>
        <c:axId val="1539139407"/>
      </c:barChart>
      <c:catAx>
        <c:axId val="15455451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539139407"/>
        <c:crosses val="autoZero"/>
        <c:auto val="1"/>
        <c:lblAlgn val="ctr"/>
        <c:lblOffset val="100"/>
        <c:noMultiLvlLbl val="0"/>
      </c:catAx>
      <c:valAx>
        <c:axId val="1539139407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15455451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0"/>
      <c:rotY val="0"/>
      <c:depthPercent val="60"/>
      <c:rAngAx val="0"/>
      <c:perspective val="100"/>
    </c:view3D>
    <c:floor>
      <c:thickness val="0"/>
      <c:spPr>
        <a:solidFill>
          <a:schemeClr val="lt1">
            <a:lumMod val="95000"/>
          </a:schemeClr>
        </a:solidFill>
        <a:ln>
          <a:noFill/>
        </a:ln>
        <a:effectLst/>
        <a:sp3d/>
      </c:spPr>
    </c:floor>
    <c:sideWall>
      <c:thickness val="0"/>
      <c:spPr>
        <a:noFill/>
        <a:ln w="25400">
          <a:noFill/>
        </a:ln>
        <a:effectLst>
          <a:outerShdw blurRad="50800" dist="50800" dir="5400000" algn="ctr" rotWithShape="0">
            <a:srgbClr val="000000">
              <a:alpha val="99000"/>
            </a:srgbClr>
          </a:outerShdw>
        </a:effectLst>
        <a:sp3d/>
      </c:spPr>
    </c:sideWall>
    <c:backWall>
      <c:thickness val="0"/>
      <c:spPr>
        <a:noFill/>
        <a:ln>
          <a:noFill/>
        </a:ln>
        <a:effectLst>
          <a:outerShdw blurRad="50800" dist="50800" dir="5400000" algn="ctr" rotWithShape="0">
            <a:srgbClr val="000000">
              <a:alpha val="99000"/>
            </a:srgbClr>
          </a:outerShdw>
        </a:effectLst>
        <a:sp3d/>
      </c:spPr>
    </c:backWall>
    <c:plotArea>
      <c:layout>
        <c:manualLayout>
          <c:layoutTarget val="inner"/>
          <c:xMode val="edge"/>
          <c:yMode val="edge"/>
          <c:x val="0"/>
          <c:y val="1.6410071911303458E-2"/>
          <c:w val="1"/>
          <c:h val="0.82787605533000275"/>
        </c:manualLayout>
      </c:layout>
      <c:bar3DChart>
        <c:barDir val="col"/>
        <c:grouping val="standard"/>
        <c:varyColors val="0"/>
        <c:ser>
          <c:idx val="0"/>
          <c:order val="0"/>
          <c:spPr>
            <a:solidFill>
              <a:schemeClr val="accent4">
                <a:lumMod val="25000"/>
                <a:alpha val="92000"/>
              </a:schemeClr>
            </a:solidFill>
            <a:ln w="9525" cap="flat" cmpd="sng" algn="ctr">
              <a:solidFill>
                <a:srgbClr val="FFFFFF">
                  <a:lumMod val="85000"/>
                </a:srgbClr>
              </a:solidFill>
              <a:round/>
            </a:ln>
            <a:effectLst>
              <a:outerShdw blurRad="50800" dist="50800" dir="5400000" algn="ctr" rotWithShape="0">
                <a:srgbClr val="000000">
                  <a:alpha val="35000"/>
                </a:srgbClr>
              </a:outerShdw>
            </a:effectLst>
            <a:sp3d contourW="9525">
              <a:contourClr>
                <a:srgbClr val="FFFFFF">
                  <a:lumMod val="85000"/>
                </a:srgbClr>
              </a:contourClr>
            </a:sp3d>
          </c:spPr>
          <c:invertIfNegative val="0"/>
          <c:dPt>
            <c:idx val="5"/>
            <c:invertIfNegative val="0"/>
            <c:bubble3D val="0"/>
            <c:spPr>
              <a:solidFill>
                <a:schemeClr val="accent2">
                  <a:lumMod val="75000"/>
                  <a:alpha val="92000"/>
                </a:schemeClr>
              </a:solidFill>
              <a:ln w="9525" cap="flat" cmpd="sng" algn="ctr">
                <a:solidFill>
                  <a:srgbClr val="FFFFFF">
                    <a:lumMod val="85000"/>
                  </a:srgbClr>
                </a:solidFill>
                <a:round/>
              </a:ln>
              <a:effectLst>
                <a:outerShdw blurRad="50800" dist="50800" dir="5400000" algn="ctr" rotWithShape="0">
                  <a:srgbClr val="000000">
                    <a:alpha val="35000"/>
                  </a:srgbClr>
                </a:outerShdw>
              </a:effectLst>
              <a:sp3d contourW="9525">
                <a:contourClr>
                  <a:srgbClr val="FFFFFF">
                    <a:lumMod val="85000"/>
                  </a:srgb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239-4502-8A94-986D92FBF4CD}"/>
              </c:ext>
            </c:extLst>
          </c:dPt>
          <c:cat>
            <c:strRef>
              <c:f>'Importações BC'!$R$41:$R$46</c:f>
              <c:strCach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1S23</c:v>
                </c:pt>
              </c:strCache>
            </c:strRef>
          </c:cat>
          <c:val>
            <c:numRef>
              <c:f>'Importações BC'!$S$41:$S$46</c:f>
              <c:numCache>
                <c:formatCode>General</c:formatCode>
                <c:ptCount val="6"/>
                <c:pt idx="0">
                  <c:v>1</c:v>
                </c:pt>
                <c:pt idx="1">
                  <c:v>5</c:v>
                </c:pt>
                <c:pt idx="2">
                  <c:v>8</c:v>
                </c:pt>
                <c:pt idx="3">
                  <c:v>8</c:v>
                </c:pt>
                <c:pt idx="4">
                  <c:v>8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239-4502-8A94-986D92FBF4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shape val="box"/>
        <c:axId val="615719584"/>
        <c:axId val="180466064"/>
        <c:axId val="427141472"/>
      </c:bar3DChart>
      <c:catAx>
        <c:axId val="6157195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0"/>
          <a:lstStyle/>
          <a:p>
            <a:pPr>
              <a:defRPr sz="1200" b="1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80466064"/>
        <c:crosses val="autoZero"/>
        <c:auto val="1"/>
        <c:lblAlgn val="ctr"/>
        <c:lblOffset val="190"/>
        <c:noMultiLvlLbl val="0"/>
      </c:catAx>
      <c:valAx>
        <c:axId val="180466064"/>
        <c:scaling>
          <c:orientation val="minMax"/>
          <c:max val="10"/>
          <c:min val="0"/>
        </c:scaling>
        <c:delete val="1"/>
        <c:axPos val="l"/>
        <c:majorGridlines>
          <c:spPr>
            <a:ln w="3175" cap="flat" cmpd="sng" algn="ctr">
              <a:solidFill>
                <a:schemeClr val="bg2">
                  <a:lumMod val="65000"/>
                  <a:lumOff val="35000"/>
                </a:schemeClr>
              </a:solidFill>
              <a:round/>
            </a:ln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c:spPr>
        </c:majorGridlines>
        <c:numFmt formatCode="General" sourceLinked="1"/>
        <c:majorTickMark val="none"/>
        <c:minorTickMark val="none"/>
        <c:tickLblPos val="nextTo"/>
        <c:crossAx val="615719584"/>
        <c:crosses val="autoZero"/>
        <c:crossBetween val="between"/>
      </c:valAx>
      <c:serAx>
        <c:axId val="427141472"/>
        <c:scaling>
          <c:orientation val="minMax"/>
        </c:scaling>
        <c:delete val="1"/>
        <c:axPos val="b"/>
        <c:majorTickMark val="none"/>
        <c:minorTickMark val="none"/>
        <c:tickLblPos val="nextTo"/>
        <c:crossAx val="180466064"/>
        <c:crosses val="autoZero"/>
      </c:serAx>
      <c:spPr>
        <a:solidFill>
          <a:srgbClr val="051C2C"/>
        </a:solidFill>
        <a:ln>
          <a:noFill/>
        </a:ln>
        <a:effectLst>
          <a:outerShdw blurRad="50800" dist="50800" dir="5400000" algn="ctr" rotWithShape="0">
            <a:schemeClr val="tx1">
              <a:alpha val="0"/>
            </a:schemeClr>
          </a:outerShdw>
        </a:effectLst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8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1197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phClr">
            <a:lumMod val="75000"/>
          </a:schemeClr>
        </a:solidFill>
        <a:round/>
      </a:ln>
    </cs:spPr>
  </cs:dataPoint>
  <cs:dataPoint3D>
    <cs:lnRef idx="0">
      <cs:styleClr val="auto"/>
    </cs:lnRef>
    <cs:fillRef idx="0">
      <cs:styleClr val="auto"/>
    </cs:fillRef>
    <cs:effectRef idx="0">
      <cs:styleClr val="auto"/>
    </cs:effectRef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phClr">
            <a:lumMod val="7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sp3d/>
    </cs:spPr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/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E324BC-9833-46F8-9D56-910E0D7FC0C1}" type="datetimeFigureOut">
              <a:rPr lang="pt-BR" smtClean="0"/>
              <a:t>03/10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526B96-F0E1-40C5-A5E8-FEA1D35A906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167587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 October 20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677412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4" name="Google Shape;1194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5" name="Google Shape;1195;p14:notes"/>
          <p:cNvSpPr txBox="1">
            <a:spLocks noGrp="1"/>
          </p:cNvSpPr>
          <p:nvPr>
            <p:ph type="body" idx="1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1196" name="Google Shape;1196;p14:notes"/>
          <p:cNvSpPr txBox="1">
            <a:spLocks noGrp="1"/>
          </p:cNvSpPr>
          <p:nvPr>
            <p:ph type="dt" idx="10"/>
          </p:nvPr>
        </p:nvSpPr>
        <p:spPr>
          <a:xfrm>
            <a:off x="4023092" y="0"/>
            <a:ext cx="3077739" cy="47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13 June 2023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7" name="Google Shape;1197;p14:notes"/>
          <p:cNvSpPr txBox="1">
            <a:spLocks noGrp="1"/>
          </p:cNvSpPr>
          <p:nvPr>
            <p:ph type="sldNum" idx="12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fld id="{00000000-1234-1234-1234-123412341234}" type="slidenum"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Calibri"/>
                <a:buNone/>
                <a:tabLst/>
                <a:defRPr/>
              </a:pPr>
              <a:t>10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045640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4" name="Google Shape;1194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5" name="Google Shape;1195;p14:notes"/>
          <p:cNvSpPr txBox="1">
            <a:spLocks noGrp="1"/>
          </p:cNvSpPr>
          <p:nvPr>
            <p:ph type="body" idx="1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96" name="Google Shape;1196;p14:notes"/>
          <p:cNvSpPr txBox="1">
            <a:spLocks noGrp="1"/>
          </p:cNvSpPr>
          <p:nvPr>
            <p:ph type="dt" idx="10"/>
          </p:nvPr>
        </p:nvSpPr>
        <p:spPr>
          <a:xfrm>
            <a:off x="4023092" y="0"/>
            <a:ext cx="3077739" cy="47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13 June 2023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7" name="Google Shape;1197;p14:notes"/>
          <p:cNvSpPr txBox="1">
            <a:spLocks noGrp="1"/>
          </p:cNvSpPr>
          <p:nvPr>
            <p:ph type="sldNum" idx="12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fld id="{00000000-1234-1234-1234-123412341234}" type="slidenum"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Calibri"/>
                <a:buNone/>
                <a:tabLst/>
                <a:defRPr/>
              </a:pPr>
              <a:t>11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036902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" name="Google Shape;1174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75" name="Google Shape;1175;p13:notes"/>
          <p:cNvSpPr txBox="1">
            <a:spLocks noGrp="1"/>
          </p:cNvSpPr>
          <p:nvPr>
            <p:ph type="body" idx="1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6" name="Google Shape;1176;p13:notes"/>
          <p:cNvSpPr txBox="1">
            <a:spLocks noGrp="1"/>
          </p:cNvSpPr>
          <p:nvPr>
            <p:ph type="dt" idx="10"/>
          </p:nvPr>
        </p:nvSpPr>
        <p:spPr>
          <a:xfrm>
            <a:off x="4023092" y="0"/>
            <a:ext cx="3077739" cy="47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13 June 2023</a:t>
            </a: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7" name="Google Shape;1177;p13:notes"/>
          <p:cNvSpPr txBox="1">
            <a:spLocks noGrp="1"/>
          </p:cNvSpPr>
          <p:nvPr>
            <p:ph type="sldNum" idx="12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t>15</a:t>
            </a:fld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89385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" name="Google Shape;1174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75" name="Google Shape;1175;p13:notes"/>
          <p:cNvSpPr txBox="1">
            <a:spLocks noGrp="1"/>
          </p:cNvSpPr>
          <p:nvPr>
            <p:ph type="body" idx="1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6" name="Google Shape;1176;p13:notes"/>
          <p:cNvSpPr txBox="1">
            <a:spLocks noGrp="1"/>
          </p:cNvSpPr>
          <p:nvPr>
            <p:ph type="dt" idx="10"/>
          </p:nvPr>
        </p:nvSpPr>
        <p:spPr>
          <a:xfrm>
            <a:off x="4023092" y="0"/>
            <a:ext cx="3077739" cy="47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13 June 2023</a:t>
            </a: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7" name="Google Shape;1177;p13:notes"/>
          <p:cNvSpPr txBox="1">
            <a:spLocks noGrp="1"/>
          </p:cNvSpPr>
          <p:nvPr>
            <p:ph type="sldNum" idx="12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t>16</a:t>
            </a:fld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2281093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4" name="Google Shape;1194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5" name="Google Shape;1195;p14:notes"/>
          <p:cNvSpPr txBox="1">
            <a:spLocks noGrp="1"/>
          </p:cNvSpPr>
          <p:nvPr>
            <p:ph type="body" idx="1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96" name="Google Shape;1196;p14:notes"/>
          <p:cNvSpPr txBox="1">
            <a:spLocks noGrp="1"/>
          </p:cNvSpPr>
          <p:nvPr>
            <p:ph type="dt" idx="10"/>
          </p:nvPr>
        </p:nvSpPr>
        <p:spPr>
          <a:xfrm>
            <a:off x="4023092" y="0"/>
            <a:ext cx="3077739" cy="47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13 June 2023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7" name="Google Shape;1197;p14:notes"/>
          <p:cNvSpPr txBox="1">
            <a:spLocks noGrp="1"/>
          </p:cNvSpPr>
          <p:nvPr>
            <p:ph type="sldNum" idx="12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fld id="{00000000-1234-1234-1234-123412341234}" type="slidenum"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Calibri"/>
                <a:buNone/>
                <a:tabLst/>
                <a:defRPr/>
              </a:pPr>
              <a:t>17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883000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4" name="Google Shape;1194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5" name="Google Shape;1195;p14:notes"/>
          <p:cNvSpPr txBox="1">
            <a:spLocks noGrp="1"/>
          </p:cNvSpPr>
          <p:nvPr>
            <p:ph type="body" idx="1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96" name="Google Shape;1196;p14:notes"/>
          <p:cNvSpPr txBox="1">
            <a:spLocks noGrp="1"/>
          </p:cNvSpPr>
          <p:nvPr>
            <p:ph type="dt" idx="10"/>
          </p:nvPr>
        </p:nvSpPr>
        <p:spPr>
          <a:xfrm>
            <a:off x="4023092" y="0"/>
            <a:ext cx="3077739" cy="47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13 June 2023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7" name="Google Shape;1197;p14:notes"/>
          <p:cNvSpPr txBox="1">
            <a:spLocks noGrp="1"/>
          </p:cNvSpPr>
          <p:nvPr>
            <p:ph type="sldNum" idx="12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fld id="{00000000-1234-1234-1234-123412341234}" type="slidenum"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Calibri"/>
                <a:buNone/>
                <a:tabLst/>
                <a:defRPr/>
              </a:pPr>
              <a:t>19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1154971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7" name="Google Shape;1457;p36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458" name="Google Shape;1458;p36:notes"/>
          <p:cNvSpPr txBox="1">
            <a:spLocks noGrp="1"/>
          </p:cNvSpPr>
          <p:nvPr>
            <p:ph type="body" idx="1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59" name="Google Shape;1459;p36:notes"/>
          <p:cNvSpPr txBox="1">
            <a:spLocks noGrp="1"/>
          </p:cNvSpPr>
          <p:nvPr>
            <p:ph type="dt" idx="10"/>
          </p:nvPr>
        </p:nvSpPr>
        <p:spPr>
          <a:xfrm>
            <a:off x="4023092" y="0"/>
            <a:ext cx="3077739" cy="47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13 June 2023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0" name="Google Shape;1460;p36:notes"/>
          <p:cNvSpPr txBox="1">
            <a:spLocks noGrp="1"/>
          </p:cNvSpPr>
          <p:nvPr>
            <p:ph type="sldNum" idx="12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fld id="{00000000-1234-1234-1234-123412341234}" type="slidenum">
              <a:rPr kumimoji="0" lang="pt-BR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Calibri"/>
                <a:buNone/>
                <a:tabLst/>
                <a:defRPr/>
              </a:pPr>
              <a:t>22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4" name="Google Shape;1194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5" name="Google Shape;1195;p14:notes"/>
          <p:cNvSpPr txBox="1">
            <a:spLocks noGrp="1"/>
          </p:cNvSpPr>
          <p:nvPr>
            <p:ph type="body" idx="1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96" name="Google Shape;1196;p14:notes"/>
          <p:cNvSpPr txBox="1">
            <a:spLocks noGrp="1"/>
          </p:cNvSpPr>
          <p:nvPr>
            <p:ph type="dt" idx="10"/>
          </p:nvPr>
        </p:nvSpPr>
        <p:spPr>
          <a:xfrm>
            <a:off x="4023092" y="0"/>
            <a:ext cx="3077739" cy="47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13 June 2023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7" name="Google Shape;1197;p14:notes"/>
          <p:cNvSpPr txBox="1">
            <a:spLocks noGrp="1"/>
          </p:cNvSpPr>
          <p:nvPr>
            <p:ph type="sldNum" idx="12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fld id="{00000000-1234-1234-1234-123412341234}" type="slidenum"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Calibri"/>
                <a:buNone/>
                <a:tabLst/>
                <a:defRPr/>
              </a:pPr>
              <a:t>2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945570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2:notes"/>
          <p:cNvSpPr txBox="1">
            <a:spLocks noGrp="1"/>
          </p:cNvSpPr>
          <p:nvPr>
            <p:ph type="body" idx="1"/>
          </p:nvPr>
        </p:nvSpPr>
        <p:spPr>
          <a:xfrm>
            <a:off x="678684" y="4776242"/>
            <a:ext cx="5435545" cy="3908597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400"/>
              </a:spcBef>
              <a:spcAft>
                <a:spcPts val="400"/>
              </a:spcAft>
              <a:buNone/>
            </a:pPr>
            <a:endParaRPr/>
          </a:p>
        </p:txBody>
      </p:sp>
      <p:sp>
        <p:nvSpPr>
          <p:cNvPr id="870" name="Google Shape;870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595313"/>
            <a:ext cx="5954713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6" name="Google Shape;896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595313"/>
            <a:ext cx="5954713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897" name="Google Shape;897;p4:notes"/>
          <p:cNvSpPr txBox="1">
            <a:spLocks noGrp="1"/>
          </p:cNvSpPr>
          <p:nvPr>
            <p:ph type="body" idx="1"/>
          </p:nvPr>
        </p:nvSpPr>
        <p:spPr>
          <a:xfrm>
            <a:off x="678684" y="4776242"/>
            <a:ext cx="5435545" cy="3908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98" name="Google Shape;898;p4:notes"/>
          <p:cNvSpPr txBox="1">
            <a:spLocks noGrp="1"/>
          </p:cNvSpPr>
          <p:nvPr>
            <p:ph type="dt" idx="10"/>
          </p:nvPr>
        </p:nvSpPr>
        <p:spPr>
          <a:xfrm>
            <a:off x="3847746" y="0"/>
            <a:ext cx="2943595" cy="497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13 June 2023</a:t>
            </a: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899" name="Google Shape;899;p4:notes"/>
          <p:cNvSpPr txBox="1">
            <a:spLocks noGrp="1"/>
          </p:cNvSpPr>
          <p:nvPr>
            <p:ph type="sldNum" idx="12"/>
          </p:nvPr>
        </p:nvSpPr>
        <p:spPr>
          <a:xfrm>
            <a:off x="3847746" y="9427076"/>
            <a:ext cx="2943595" cy="497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pt-BR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4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Google Shape;910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595313"/>
            <a:ext cx="5954713" cy="33496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911" name="Google Shape;911;p5:notes"/>
          <p:cNvSpPr txBox="1">
            <a:spLocks noGrp="1"/>
          </p:cNvSpPr>
          <p:nvPr>
            <p:ph type="body" idx="1"/>
          </p:nvPr>
        </p:nvSpPr>
        <p:spPr>
          <a:xfrm>
            <a:off x="678684" y="4776242"/>
            <a:ext cx="5435545" cy="39085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2" name="Google Shape;912;p5:notes"/>
          <p:cNvSpPr txBox="1">
            <a:spLocks noGrp="1"/>
          </p:cNvSpPr>
          <p:nvPr>
            <p:ph type="dt" idx="10"/>
          </p:nvPr>
        </p:nvSpPr>
        <p:spPr>
          <a:xfrm>
            <a:off x="3847746" y="0"/>
            <a:ext cx="2943595" cy="497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13 June 2023</a:t>
            </a: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13" name="Google Shape;913;p5:notes"/>
          <p:cNvSpPr txBox="1">
            <a:spLocks noGrp="1"/>
          </p:cNvSpPr>
          <p:nvPr>
            <p:ph type="sldNum" idx="12"/>
          </p:nvPr>
        </p:nvSpPr>
        <p:spPr>
          <a:xfrm>
            <a:off x="3847746" y="9427076"/>
            <a:ext cx="2943595" cy="4979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t>5</a:t>
            </a:fld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4" name="Google Shape;1194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5" name="Google Shape;1195;p14:notes"/>
          <p:cNvSpPr txBox="1">
            <a:spLocks noGrp="1"/>
          </p:cNvSpPr>
          <p:nvPr>
            <p:ph type="body" idx="1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96" name="Google Shape;1196;p14:notes"/>
          <p:cNvSpPr txBox="1">
            <a:spLocks noGrp="1"/>
          </p:cNvSpPr>
          <p:nvPr>
            <p:ph type="dt" idx="10"/>
          </p:nvPr>
        </p:nvSpPr>
        <p:spPr>
          <a:xfrm>
            <a:off x="4023092" y="0"/>
            <a:ext cx="3077739" cy="47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13 June 2023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7" name="Google Shape;1197;p14:notes"/>
          <p:cNvSpPr txBox="1">
            <a:spLocks noGrp="1"/>
          </p:cNvSpPr>
          <p:nvPr>
            <p:ph type="sldNum" idx="12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fld id="{00000000-1234-1234-1234-123412341234}" type="slidenum"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Calibri"/>
                <a:buNone/>
                <a:tabLst/>
                <a:defRPr/>
              </a:pPr>
              <a:t>6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" name="Google Shape;1174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75" name="Google Shape;1175;p13:notes"/>
          <p:cNvSpPr txBox="1">
            <a:spLocks noGrp="1"/>
          </p:cNvSpPr>
          <p:nvPr>
            <p:ph type="body" idx="1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6" name="Google Shape;1176;p13:notes"/>
          <p:cNvSpPr txBox="1">
            <a:spLocks noGrp="1"/>
          </p:cNvSpPr>
          <p:nvPr>
            <p:ph type="dt" idx="10"/>
          </p:nvPr>
        </p:nvSpPr>
        <p:spPr>
          <a:xfrm>
            <a:off x="4023092" y="0"/>
            <a:ext cx="3077739" cy="47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13 June 2023</a:t>
            </a: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7" name="Google Shape;1177;p13:notes"/>
          <p:cNvSpPr txBox="1">
            <a:spLocks noGrp="1"/>
          </p:cNvSpPr>
          <p:nvPr>
            <p:ph type="sldNum" idx="12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t>7</a:t>
            </a:fld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649393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" name="Google Shape;1174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75" name="Google Shape;1175;p13:notes"/>
          <p:cNvSpPr txBox="1">
            <a:spLocks noGrp="1"/>
          </p:cNvSpPr>
          <p:nvPr>
            <p:ph type="body" idx="1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76" name="Google Shape;1176;p13:notes"/>
          <p:cNvSpPr txBox="1">
            <a:spLocks noGrp="1"/>
          </p:cNvSpPr>
          <p:nvPr>
            <p:ph type="dt" idx="10"/>
          </p:nvPr>
        </p:nvSpPr>
        <p:spPr>
          <a:xfrm>
            <a:off x="4023092" y="0"/>
            <a:ext cx="3077739" cy="47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13 June 2023</a:t>
            </a:r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7" name="Google Shape;1177;p13:notes"/>
          <p:cNvSpPr txBox="1">
            <a:spLocks noGrp="1"/>
          </p:cNvSpPr>
          <p:nvPr>
            <p:ph type="sldNum" idx="12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t>8</a:t>
            </a:fld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340746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4" name="Google Shape;1194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195" name="Google Shape;1195;p14:notes"/>
          <p:cNvSpPr txBox="1">
            <a:spLocks noGrp="1"/>
          </p:cNvSpPr>
          <p:nvPr>
            <p:ph type="body" idx="1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96" name="Google Shape;1196;p14:notes"/>
          <p:cNvSpPr txBox="1">
            <a:spLocks noGrp="1"/>
          </p:cNvSpPr>
          <p:nvPr>
            <p:ph type="dt" idx="10"/>
          </p:nvPr>
        </p:nvSpPr>
        <p:spPr>
          <a:xfrm>
            <a:off x="4023092" y="0"/>
            <a:ext cx="3077739" cy="4710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t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r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13 June 2023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7" name="Google Shape;1197;p14:notes"/>
          <p:cNvSpPr txBox="1">
            <a:spLocks noGrp="1"/>
          </p:cNvSpPr>
          <p:nvPr>
            <p:ph type="sldNum" idx="12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25" tIns="47100" rIns="914400" bIns="471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  <a:tabLst/>
              <a:defRPr/>
            </a:pPr>
            <a:fld id="{00000000-1234-1234-1234-123412341234}" type="slidenum">
              <a:rPr kumimoji="0" lang="pt-BR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Calibri"/>
                <a:buNone/>
                <a:tabLst/>
                <a:defRPr/>
              </a:pPr>
              <a:t>9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7477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png"/><Relationship Id="rId5" Type="http://schemas.openxmlformats.org/officeDocument/2006/relationships/tags" Target="../tags/tag5.xml"/><Relationship Id="rId10" Type="http://schemas.openxmlformats.org/officeDocument/2006/relationships/image" Target="../media/image4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image" Target="../media/image2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image" Target="../media/image4.emf"/><Relationship Id="rId5" Type="http://schemas.openxmlformats.org/officeDocument/2006/relationships/tags" Target="../tags/tag34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3.xml"/><Relationship Id="rId9" Type="http://schemas.openxmlformats.org/officeDocument/2006/relationships/image" Target="../media/image3.png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10" Type="http://schemas.openxmlformats.org/officeDocument/2006/relationships/image" Target="../media/image5.emf"/><Relationship Id="rId4" Type="http://schemas.openxmlformats.org/officeDocument/2006/relationships/tags" Target="../tags/tag40.xml"/><Relationship Id="rId9" Type="http://schemas.openxmlformats.org/officeDocument/2006/relationships/oleObject" Target="../embeddings/oleObject4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image" Target="../media/image6.png"/><Relationship Id="rId5" Type="http://schemas.openxmlformats.org/officeDocument/2006/relationships/tags" Target="../tags/tag48.xml"/><Relationship Id="rId10" Type="http://schemas.openxmlformats.org/officeDocument/2006/relationships/image" Target="../media/image5.emf"/><Relationship Id="rId4" Type="http://schemas.openxmlformats.org/officeDocument/2006/relationships/tags" Target="../tags/tag47.xml"/><Relationship Id="rId9" Type="http://schemas.openxmlformats.org/officeDocument/2006/relationships/oleObject" Target="../embeddings/oleObject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58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6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5" Type="http://schemas.openxmlformats.org/officeDocument/2006/relationships/tags" Target="../tags/tag63.xml"/><Relationship Id="rId4" Type="http://schemas.openxmlformats.org/officeDocument/2006/relationships/tags" Target="../tags/tag62.xml"/><Relationship Id="rId9" Type="http://schemas.openxmlformats.org/officeDocument/2006/relationships/image" Target="../media/image7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5" Type="http://schemas.openxmlformats.org/officeDocument/2006/relationships/tags" Target="../tags/tag69.xml"/><Relationship Id="rId10" Type="http://schemas.openxmlformats.org/officeDocument/2006/relationships/image" Target="../media/image7.emf"/><Relationship Id="rId4" Type="http://schemas.openxmlformats.org/officeDocument/2006/relationships/tags" Target="../tags/tag68.xml"/><Relationship Id="rId9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13" Type="http://schemas.openxmlformats.org/officeDocument/2006/relationships/tags" Target="../tags/tag84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tags" Target="../tags/tag83.xml"/><Relationship Id="rId2" Type="http://schemas.openxmlformats.org/officeDocument/2006/relationships/tags" Target="../tags/tag73.xml"/><Relationship Id="rId16" Type="http://schemas.openxmlformats.org/officeDocument/2006/relationships/image" Target="../media/image5.emf"/><Relationship Id="rId1" Type="http://schemas.openxmlformats.org/officeDocument/2006/relationships/tags" Target="../tags/tag72.xml"/><Relationship Id="rId6" Type="http://schemas.openxmlformats.org/officeDocument/2006/relationships/tags" Target="../tags/tag77.xml"/><Relationship Id="rId11" Type="http://schemas.openxmlformats.org/officeDocument/2006/relationships/tags" Target="../tags/tag82.xml"/><Relationship Id="rId5" Type="http://schemas.openxmlformats.org/officeDocument/2006/relationships/tags" Target="../tags/tag76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81.xml"/><Relationship Id="rId4" Type="http://schemas.openxmlformats.org/officeDocument/2006/relationships/tags" Target="../tags/tag75.xml"/><Relationship Id="rId9" Type="http://schemas.openxmlformats.org/officeDocument/2006/relationships/tags" Target="../tags/tag80.xml"/><Relationship Id="rId14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13" Type="http://schemas.openxmlformats.org/officeDocument/2006/relationships/tags" Target="../tags/tag97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tags" Target="../tags/tag96.xml"/><Relationship Id="rId2" Type="http://schemas.openxmlformats.org/officeDocument/2006/relationships/tags" Target="../tags/tag86.xml"/><Relationship Id="rId16" Type="http://schemas.openxmlformats.org/officeDocument/2006/relationships/image" Target="../media/image5.emf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tags" Target="../tags/tag95.xml"/><Relationship Id="rId5" Type="http://schemas.openxmlformats.org/officeDocument/2006/relationships/tags" Target="../tags/tag89.xml"/><Relationship Id="rId15" Type="http://schemas.openxmlformats.org/officeDocument/2006/relationships/oleObject" Target="../embeddings/oleObject9.bin"/><Relationship Id="rId10" Type="http://schemas.openxmlformats.org/officeDocument/2006/relationships/tags" Target="../tags/tag94.xml"/><Relationship Id="rId4" Type="http://schemas.openxmlformats.org/officeDocument/2006/relationships/tags" Target="../tags/tag88.xml"/><Relationship Id="rId9" Type="http://schemas.openxmlformats.org/officeDocument/2006/relationships/tags" Target="../tags/tag93.xml"/><Relationship Id="rId1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13" Type="http://schemas.openxmlformats.org/officeDocument/2006/relationships/tags" Target="../tags/tag110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tags" Target="../tags/tag109.xml"/><Relationship Id="rId2" Type="http://schemas.openxmlformats.org/officeDocument/2006/relationships/tags" Target="../tags/tag99.xml"/><Relationship Id="rId16" Type="http://schemas.openxmlformats.org/officeDocument/2006/relationships/image" Target="../media/image8.emf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11" Type="http://schemas.openxmlformats.org/officeDocument/2006/relationships/tags" Target="../tags/tag108.xml"/><Relationship Id="rId5" Type="http://schemas.openxmlformats.org/officeDocument/2006/relationships/tags" Target="../tags/tag102.xml"/><Relationship Id="rId15" Type="http://schemas.openxmlformats.org/officeDocument/2006/relationships/oleObject" Target="../embeddings/oleObject10.bin"/><Relationship Id="rId10" Type="http://schemas.openxmlformats.org/officeDocument/2006/relationships/tags" Target="../tags/tag107.xml"/><Relationship Id="rId4" Type="http://schemas.openxmlformats.org/officeDocument/2006/relationships/tags" Target="../tags/tag101.xml"/><Relationship Id="rId9" Type="http://schemas.openxmlformats.org/officeDocument/2006/relationships/tags" Target="../tags/tag106.xml"/><Relationship Id="rId1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18.xml"/><Relationship Id="rId13" Type="http://schemas.openxmlformats.org/officeDocument/2006/relationships/tags" Target="../tags/tag123.xml"/><Relationship Id="rId3" Type="http://schemas.openxmlformats.org/officeDocument/2006/relationships/tags" Target="../tags/tag113.xml"/><Relationship Id="rId7" Type="http://schemas.openxmlformats.org/officeDocument/2006/relationships/tags" Target="../tags/tag117.xml"/><Relationship Id="rId12" Type="http://schemas.openxmlformats.org/officeDocument/2006/relationships/tags" Target="../tags/tag122.xml"/><Relationship Id="rId2" Type="http://schemas.openxmlformats.org/officeDocument/2006/relationships/tags" Target="../tags/tag112.xml"/><Relationship Id="rId16" Type="http://schemas.openxmlformats.org/officeDocument/2006/relationships/image" Target="../media/image5.emf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11" Type="http://schemas.openxmlformats.org/officeDocument/2006/relationships/tags" Target="../tags/tag121.xml"/><Relationship Id="rId5" Type="http://schemas.openxmlformats.org/officeDocument/2006/relationships/tags" Target="../tags/tag115.xml"/><Relationship Id="rId15" Type="http://schemas.openxmlformats.org/officeDocument/2006/relationships/oleObject" Target="../embeddings/oleObject11.bin"/><Relationship Id="rId10" Type="http://schemas.openxmlformats.org/officeDocument/2006/relationships/tags" Target="../tags/tag120.xml"/><Relationship Id="rId4" Type="http://schemas.openxmlformats.org/officeDocument/2006/relationships/tags" Target="../tags/tag114.xml"/><Relationship Id="rId9" Type="http://schemas.openxmlformats.org/officeDocument/2006/relationships/tags" Target="../tags/tag119.xml"/><Relationship Id="rId1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13" Type="http://schemas.openxmlformats.org/officeDocument/2006/relationships/tags" Target="../tags/tag136.xml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12" Type="http://schemas.openxmlformats.org/officeDocument/2006/relationships/tags" Target="../tags/tag135.xml"/><Relationship Id="rId2" Type="http://schemas.openxmlformats.org/officeDocument/2006/relationships/tags" Target="../tags/tag125.xml"/><Relationship Id="rId16" Type="http://schemas.openxmlformats.org/officeDocument/2006/relationships/image" Target="../media/image8.emf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11" Type="http://schemas.openxmlformats.org/officeDocument/2006/relationships/tags" Target="../tags/tag134.xml"/><Relationship Id="rId5" Type="http://schemas.openxmlformats.org/officeDocument/2006/relationships/tags" Target="../tags/tag128.xml"/><Relationship Id="rId15" Type="http://schemas.openxmlformats.org/officeDocument/2006/relationships/oleObject" Target="../embeddings/oleObject12.bin"/><Relationship Id="rId10" Type="http://schemas.openxmlformats.org/officeDocument/2006/relationships/tags" Target="../tags/tag133.xml"/><Relationship Id="rId4" Type="http://schemas.openxmlformats.org/officeDocument/2006/relationships/tags" Target="../tags/tag127.xml"/><Relationship Id="rId9" Type="http://schemas.openxmlformats.org/officeDocument/2006/relationships/tags" Target="../tags/tag132.xml"/><Relationship Id="rId1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13" Type="http://schemas.openxmlformats.org/officeDocument/2006/relationships/oleObject" Target="../embeddings/oleObject13.bin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tags" Target="../tags/tag147.xml"/><Relationship Id="rId5" Type="http://schemas.openxmlformats.org/officeDocument/2006/relationships/tags" Target="../tags/tag141.xml"/><Relationship Id="rId10" Type="http://schemas.openxmlformats.org/officeDocument/2006/relationships/tags" Target="../tags/tag146.xml"/><Relationship Id="rId4" Type="http://schemas.openxmlformats.org/officeDocument/2006/relationships/tags" Target="../tags/tag140.xml"/><Relationship Id="rId9" Type="http://schemas.openxmlformats.org/officeDocument/2006/relationships/tags" Target="../tags/tag145.xml"/><Relationship Id="rId14" Type="http://schemas.openxmlformats.org/officeDocument/2006/relationships/image" Target="../media/image8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55.xml"/><Relationship Id="rId13" Type="http://schemas.openxmlformats.org/officeDocument/2006/relationships/tags" Target="../tags/tag160.xml"/><Relationship Id="rId3" Type="http://schemas.openxmlformats.org/officeDocument/2006/relationships/tags" Target="../tags/tag150.xml"/><Relationship Id="rId7" Type="http://schemas.openxmlformats.org/officeDocument/2006/relationships/tags" Target="../tags/tag154.xml"/><Relationship Id="rId12" Type="http://schemas.openxmlformats.org/officeDocument/2006/relationships/tags" Target="../tags/tag159.xml"/><Relationship Id="rId2" Type="http://schemas.openxmlformats.org/officeDocument/2006/relationships/tags" Target="../tags/tag149.xml"/><Relationship Id="rId16" Type="http://schemas.openxmlformats.org/officeDocument/2006/relationships/image" Target="../media/image8.emf"/><Relationship Id="rId1" Type="http://schemas.openxmlformats.org/officeDocument/2006/relationships/tags" Target="../tags/tag148.xml"/><Relationship Id="rId6" Type="http://schemas.openxmlformats.org/officeDocument/2006/relationships/tags" Target="../tags/tag153.xml"/><Relationship Id="rId11" Type="http://schemas.openxmlformats.org/officeDocument/2006/relationships/tags" Target="../tags/tag158.xml"/><Relationship Id="rId5" Type="http://schemas.openxmlformats.org/officeDocument/2006/relationships/tags" Target="../tags/tag152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157.xml"/><Relationship Id="rId4" Type="http://schemas.openxmlformats.org/officeDocument/2006/relationships/tags" Target="../tags/tag151.xml"/><Relationship Id="rId9" Type="http://schemas.openxmlformats.org/officeDocument/2006/relationships/tags" Target="../tags/tag156.xml"/><Relationship Id="rId1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68.xml"/><Relationship Id="rId13" Type="http://schemas.openxmlformats.org/officeDocument/2006/relationships/tags" Target="../tags/tag173.xml"/><Relationship Id="rId3" Type="http://schemas.openxmlformats.org/officeDocument/2006/relationships/tags" Target="../tags/tag163.xml"/><Relationship Id="rId7" Type="http://schemas.openxmlformats.org/officeDocument/2006/relationships/tags" Target="../tags/tag167.xml"/><Relationship Id="rId12" Type="http://schemas.openxmlformats.org/officeDocument/2006/relationships/tags" Target="../tags/tag172.xml"/><Relationship Id="rId2" Type="http://schemas.openxmlformats.org/officeDocument/2006/relationships/tags" Target="../tags/tag162.xml"/><Relationship Id="rId16" Type="http://schemas.openxmlformats.org/officeDocument/2006/relationships/image" Target="../media/image5.emf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11" Type="http://schemas.openxmlformats.org/officeDocument/2006/relationships/tags" Target="../tags/tag171.xml"/><Relationship Id="rId5" Type="http://schemas.openxmlformats.org/officeDocument/2006/relationships/tags" Target="../tags/tag165.xml"/><Relationship Id="rId15" Type="http://schemas.openxmlformats.org/officeDocument/2006/relationships/oleObject" Target="../embeddings/oleObject15.bin"/><Relationship Id="rId10" Type="http://schemas.openxmlformats.org/officeDocument/2006/relationships/tags" Target="../tags/tag170.xml"/><Relationship Id="rId4" Type="http://schemas.openxmlformats.org/officeDocument/2006/relationships/tags" Target="../tags/tag164.xml"/><Relationship Id="rId9" Type="http://schemas.openxmlformats.org/officeDocument/2006/relationships/tags" Target="../tags/tag169.xml"/><Relationship Id="rId1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13" Type="http://schemas.openxmlformats.org/officeDocument/2006/relationships/tags" Target="../tags/tag186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12" Type="http://schemas.openxmlformats.org/officeDocument/2006/relationships/tags" Target="../tags/tag185.xml"/><Relationship Id="rId2" Type="http://schemas.openxmlformats.org/officeDocument/2006/relationships/tags" Target="../tags/tag175.xml"/><Relationship Id="rId16" Type="http://schemas.openxmlformats.org/officeDocument/2006/relationships/image" Target="../media/image5.emf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11" Type="http://schemas.openxmlformats.org/officeDocument/2006/relationships/tags" Target="../tags/tag184.xml"/><Relationship Id="rId5" Type="http://schemas.openxmlformats.org/officeDocument/2006/relationships/tags" Target="../tags/tag178.xml"/><Relationship Id="rId15" Type="http://schemas.openxmlformats.org/officeDocument/2006/relationships/oleObject" Target="../embeddings/oleObject16.bin"/><Relationship Id="rId10" Type="http://schemas.openxmlformats.org/officeDocument/2006/relationships/tags" Target="../tags/tag183.xml"/><Relationship Id="rId4" Type="http://schemas.openxmlformats.org/officeDocument/2006/relationships/tags" Target="../tags/tag177.xml"/><Relationship Id="rId9" Type="http://schemas.openxmlformats.org/officeDocument/2006/relationships/tags" Target="../tags/tag182.xml"/><Relationship Id="rId1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tags" Target="../tags/tag192.xml"/><Relationship Id="rId5" Type="http://schemas.openxmlformats.org/officeDocument/2006/relationships/tags" Target="../tags/tag191.xml"/><Relationship Id="rId4" Type="http://schemas.openxmlformats.org/officeDocument/2006/relationships/tags" Target="../tags/tag190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9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229.xml"/><Relationship Id="rId3" Type="http://schemas.openxmlformats.org/officeDocument/2006/relationships/tags" Target="../tags/tag224.xml"/><Relationship Id="rId7" Type="http://schemas.openxmlformats.org/officeDocument/2006/relationships/tags" Target="../tags/tag228.xml"/><Relationship Id="rId12" Type="http://schemas.openxmlformats.org/officeDocument/2006/relationships/image" Target="../media/image9.png"/><Relationship Id="rId2" Type="http://schemas.openxmlformats.org/officeDocument/2006/relationships/tags" Target="../tags/tag223.xml"/><Relationship Id="rId1" Type="http://schemas.openxmlformats.org/officeDocument/2006/relationships/tags" Target="../tags/tag222.xml"/><Relationship Id="rId6" Type="http://schemas.openxmlformats.org/officeDocument/2006/relationships/tags" Target="../tags/tag227.xml"/><Relationship Id="rId11" Type="http://schemas.openxmlformats.org/officeDocument/2006/relationships/image" Target="../media/image4.emf"/><Relationship Id="rId5" Type="http://schemas.openxmlformats.org/officeDocument/2006/relationships/tags" Target="../tags/tag226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225.xml"/><Relationship Id="rId9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32.xml"/><Relationship Id="rId7" Type="http://schemas.openxmlformats.org/officeDocument/2006/relationships/tags" Target="../tags/tag236.xml"/><Relationship Id="rId2" Type="http://schemas.openxmlformats.org/officeDocument/2006/relationships/tags" Target="../tags/tag231.xml"/><Relationship Id="rId1" Type="http://schemas.openxmlformats.org/officeDocument/2006/relationships/tags" Target="../tags/tag230.xml"/><Relationship Id="rId6" Type="http://schemas.openxmlformats.org/officeDocument/2006/relationships/tags" Target="../tags/tag235.xml"/><Relationship Id="rId5" Type="http://schemas.openxmlformats.org/officeDocument/2006/relationships/tags" Target="../tags/tag234.xml"/><Relationship Id="rId10" Type="http://schemas.openxmlformats.org/officeDocument/2006/relationships/image" Target="../media/image5.emf"/><Relationship Id="rId4" Type="http://schemas.openxmlformats.org/officeDocument/2006/relationships/tags" Target="../tags/tag233.xml"/><Relationship Id="rId9" Type="http://schemas.openxmlformats.org/officeDocument/2006/relationships/oleObject" Target="../embeddings/oleObject20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239.xml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40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243.xml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44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24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tags" Target="../tags/tag250.xml"/><Relationship Id="rId5" Type="http://schemas.openxmlformats.org/officeDocument/2006/relationships/tags" Target="../tags/tag249.xml"/><Relationship Id="rId4" Type="http://schemas.openxmlformats.org/officeDocument/2006/relationships/tags" Target="../tags/tag248.xml"/><Relationship Id="rId9" Type="http://schemas.openxmlformats.org/officeDocument/2006/relationships/image" Target="../media/image7.emf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253.xml"/><Relationship Id="rId7" Type="http://schemas.openxmlformats.org/officeDocument/2006/relationships/tags" Target="../tags/tag257.xml"/><Relationship Id="rId2" Type="http://schemas.openxmlformats.org/officeDocument/2006/relationships/tags" Target="../tags/tag252.xml"/><Relationship Id="rId1" Type="http://schemas.openxmlformats.org/officeDocument/2006/relationships/tags" Target="../tags/tag251.xml"/><Relationship Id="rId6" Type="http://schemas.openxmlformats.org/officeDocument/2006/relationships/tags" Target="../tags/tag256.xml"/><Relationship Id="rId5" Type="http://schemas.openxmlformats.org/officeDocument/2006/relationships/tags" Target="../tags/tag255.xml"/><Relationship Id="rId10" Type="http://schemas.openxmlformats.org/officeDocument/2006/relationships/image" Target="../media/image7.emf"/><Relationship Id="rId4" Type="http://schemas.openxmlformats.org/officeDocument/2006/relationships/tags" Target="../tags/tag254.xml"/><Relationship Id="rId9" Type="http://schemas.openxmlformats.org/officeDocument/2006/relationships/oleObject" Target="../embeddings/oleObject22.bin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265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260.xml"/><Relationship Id="rId7" Type="http://schemas.openxmlformats.org/officeDocument/2006/relationships/tags" Target="../tags/tag264.xml"/><Relationship Id="rId12" Type="http://schemas.openxmlformats.org/officeDocument/2006/relationships/tags" Target="../tags/tag269.xm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tags" Target="../tags/tag263.xml"/><Relationship Id="rId11" Type="http://schemas.openxmlformats.org/officeDocument/2006/relationships/tags" Target="../tags/tag268.xml"/><Relationship Id="rId5" Type="http://schemas.openxmlformats.org/officeDocument/2006/relationships/tags" Target="../tags/tag262.xml"/><Relationship Id="rId15" Type="http://schemas.openxmlformats.org/officeDocument/2006/relationships/image" Target="../media/image5.emf"/><Relationship Id="rId10" Type="http://schemas.openxmlformats.org/officeDocument/2006/relationships/tags" Target="../tags/tag267.xml"/><Relationship Id="rId4" Type="http://schemas.openxmlformats.org/officeDocument/2006/relationships/tags" Target="../tags/tag261.xml"/><Relationship Id="rId9" Type="http://schemas.openxmlformats.org/officeDocument/2006/relationships/tags" Target="../tags/tag266.xml"/><Relationship Id="rId14" Type="http://schemas.openxmlformats.org/officeDocument/2006/relationships/oleObject" Target="../embeddings/oleObject23.bin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277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272.xml"/><Relationship Id="rId7" Type="http://schemas.openxmlformats.org/officeDocument/2006/relationships/tags" Target="../tags/tag276.xml"/><Relationship Id="rId12" Type="http://schemas.openxmlformats.org/officeDocument/2006/relationships/tags" Target="../tags/tag281.xml"/><Relationship Id="rId2" Type="http://schemas.openxmlformats.org/officeDocument/2006/relationships/tags" Target="../tags/tag271.xml"/><Relationship Id="rId1" Type="http://schemas.openxmlformats.org/officeDocument/2006/relationships/tags" Target="../tags/tag270.xml"/><Relationship Id="rId6" Type="http://schemas.openxmlformats.org/officeDocument/2006/relationships/tags" Target="../tags/tag275.xml"/><Relationship Id="rId11" Type="http://schemas.openxmlformats.org/officeDocument/2006/relationships/tags" Target="../tags/tag280.xml"/><Relationship Id="rId5" Type="http://schemas.openxmlformats.org/officeDocument/2006/relationships/tags" Target="../tags/tag274.xml"/><Relationship Id="rId15" Type="http://schemas.openxmlformats.org/officeDocument/2006/relationships/image" Target="../media/image5.emf"/><Relationship Id="rId10" Type="http://schemas.openxmlformats.org/officeDocument/2006/relationships/tags" Target="../tags/tag279.xml"/><Relationship Id="rId4" Type="http://schemas.openxmlformats.org/officeDocument/2006/relationships/tags" Target="../tags/tag273.xml"/><Relationship Id="rId9" Type="http://schemas.openxmlformats.org/officeDocument/2006/relationships/tags" Target="../tags/tag278.xml"/><Relationship Id="rId14" Type="http://schemas.openxmlformats.org/officeDocument/2006/relationships/oleObject" Target="../embeddings/oleObject24.bin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289.xml"/><Relationship Id="rId13" Type="http://schemas.openxmlformats.org/officeDocument/2006/relationships/tags" Target="../tags/tag294.xml"/><Relationship Id="rId3" Type="http://schemas.openxmlformats.org/officeDocument/2006/relationships/tags" Target="../tags/tag284.xml"/><Relationship Id="rId7" Type="http://schemas.openxmlformats.org/officeDocument/2006/relationships/tags" Target="../tags/tag288.xml"/><Relationship Id="rId12" Type="http://schemas.openxmlformats.org/officeDocument/2006/relationships/tags" Target="../tags/tag293.xml"/><Relationship Id="rId2" Type="http://schemas.openxmlformats.org/officeDocument/2006/relationships/tags" Target="../tags/tag283.xml"/><Relationship Id="rId16" Type="http://schemas.openxmlformats.org/officeDocument/2006/relationships/image" Target="../media/image5.emf"/><Relationship Id="rId1" Type="http://schemas.openxmlformats.org/officeDocument/2006/relationships/tags" Target="../tags/tag282.xml"/><Relationship Id="rId6" Type="http://schemas.openxmlformats.org/officeDocument/2006/relationships/tags" Target="../tags/tag287.xml"/><Relationship Id="rId11" Type="http://schemas.openxmlformats.org/officeDocument/2006/relationships/tags" Target="../tags/tag292.xml"/><Relationship Id="rId5" Type="http://schemas.openxmlformats.org/officeDocument/2006/relationships/tags" Target="../tags/tag286.xml"/><Relationship Id="rId15" Type="http://schemas.openxmlformats.org/officeDocument/2006/relationships/oleObject" Target="../embeddings/oleObject25.bin"/><Relationship Id="rId10" Type="http://schemas.openxmlformats.org/officeDocument/2006/relationships/tags" Target="../tags/tag291.xml"/><Relationship Id="rId4" Type="http://schemas.openxmlformats.org/officeDocument/2006/relationships/tags" Target="../tags/tag285.xml"/><Relationship Id="rId9" Type="http://schemas.openxmlformats.org/officeDocument/2006/relationships/tags" Target="../tags/tag290.xml"/><Relationship Id="rId14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302.xml"/><Relationship Id="rId13" Type="http://schemas.openxmlformats.org/officeDocument/2006/relationships/tags" Target="../tags/tag307.xml"/><Relationship Id="rId3" Type="http://schemas.openxmlformats.org/officeDocument/2006/relationships/tags" Target="../tags/tag297.xml"/><Relationship Id="rId7" Type="http://schemas.openxmlformats.org/officeDocument/2006/relationships/tags" Target="../tags/tag301.xml"/><Relationship Id="rId12" Type="http://schemas.openxmlformats.org/officeDocument/2006/relationships/tags" Target="../tags/tag306.xml"/><Relationship Id="rId2" Type="http://schemas.openxmlformats.org/officeDocument/2006/relationships/tags" Target="../tags/tag296.xml"/><Relationship Id="rId16" Type="http://schemas.openxmlformats.org/officeDocument/2006/relationships/image" Target="../media/image10.emf"/><Relationship Id="rId1" Type="http://schemas.openxmlformats.org/officeDocument/2006/relationships/tags" Target="../tags/tag295.xml"/><Relationship Id="rId6" Type="http://schemas.openxmlformats.org/officeDocument/2006/relationships/tags" Target="../tags/tag300.xml"/><Relationship Id="rId11" Type="http://schemas.openxmlformats.org/officeDocument/2006/relationships/tags" Target="../tags/tag305.xml"/><Relationship Id="rId5" Type="http://schemas.openxmlformats.org/officeDocument/2006/relationships/tags" Target="../tags/tag299.xml"/><Relationship Id="rId15" Type="http://schemas.openxmlformats.org/officeDocument/2006/relationships/oleObject" Target="../embeddings/oleObject26.bin"/><Relationship Id="rId10" Type="http://schemas.openxmlformats.org/officeDocument/2006/relationships/tags" Target="../tags/tag304.xml"/><Relationship Id="rId4" Type="http://schemas.openxmlformats.org/officeDocument/2006/relationships/tags" Target="../tags/tag298.xml"/><Relationship Id="rId9" Type="http://schemas.openxmlformats.org/officeDocument/2006/relationships/tags" Target="../tags/tag303.xml"/><Relationship Id="rId14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315.xml"/><Relationship Id="rId13" Type="http://schemas.openxmlformats.org/officeDocument/2006/relationships/slideMaster" Target="../slideMasters/slideMaster3.xml"/><Relationship Id="rId3" Type="http://schemas.openxmlformats.org/officeDocument/2006/relationships/tags" Target="../tags/tag310.xml"/><Relationship Id="rId7" Type="http://schemas.openxmlformats.org/officeDocument/2006/relationships/tags" Target="../tags/tag314.xml"/><Relationship Id="rId12" Type="http://schemas.openxmlformats.org/officeDocument/2006/relationships/tags" Target="../tags/tag319.xml"/><Relationship Id="rId2" Type="http://schemas.openxmlformats.org/officeDocument/2006/relationships/tags" Target="../tags/tag309.xml"/><Relationship Id="rId1" Type="http://schemas.openxmlformats.org/officeDocument/2006/relationships/tags" Target="../tags/tag308.xml"/><Relationship Id="rId6" Type="http://schemas.openxmlformats.org/officeDocument/2006/relationships/tags" Target="../tags/tag313.xml"/><Relationship Id="rId11" Type="http://schemas.openxmlformats.org/officeDocument/2006/relationships/tags" Target="../tags/tag318.xml"/><Relationship Id="rId5" Type="http://schemas.openxmlformats.org/officeDocument/2006/relationships/tags" Target="../tags/tag312.xml"/><Relationship Id="rId15" Type="http://schemas.openxmlformats.org/officeDocument/2006/relationships/image" Target="../media/image5.emf"/><Relationship Id="rId10" Type="http://schemas.openxmlformats.org/officeDocument/2006/relationships/tags" Target="../tags/tag317.xml"/><Relationship Id="rId4" Type="http://schemas.openxmlformats.org/officeDocument/2006/relationships/tags" Target="../tags/tag311.xml"/><Relationship Id="rId9" Type="http://schemas.openxmlformats.org/officeDocument/2006/relationships/tags" Target="../tags/tag316.xml"/><Relationship Id="rId14" Type="http://schemas.openxmlformats.org/officeDocument/2006/relationships/oleObject" Target="../embeddings/oleObject27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32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21.xml"/><Relationship Id="rId1" Type="http://schemas.openxmlformats.org/officeDocument/2006/relationships/tags" Target="../tags/tag320.xml"/><Relationship Id="rId6" Type="http://schemas.openxmlformats.org/officeDocument/2006/relationships/tags" Target="../tags/tag325.xml"/><Relationship Id="rId5" Type="http://schemas.openxmlformats.org/officeDocument/2006/relationships/tags" Target="../tags/tag324.xml"/><Relationship Id="rId4" Type="http://schemas.openxmlformats.org/officeDocument/2006/relationships/tags" Target="../tags/tag32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328.xml"/><Relationship Id="rId2" Type="http://schemas.openxmlformats.org/officeDocument/2006/relationships/tags" Target="../tags/tag327.xml"/><Relationship Id="rId1" Type="http://schemas.openxmlformats.org/officeDocument/2006/relationships/tags" Target="../tags/tag326.xml"/><Relationship Id="rId4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331.xml"/><Relationship Id="rId7" Type="http://schemas.openxmlformats.org/officeDocument/2006/relationships/image" Target="../media/image11.png"/><Relationship Id="rId2" Type="http://schemas.openxmlformats.org/officeDocument/2006/relationships/tags" Target="../tags/tag330.xml"/><Relationship Id="rId1" Type="http://schemas.openxmlformats.org/officeDocument/2006/relationships/tags" Target="../tags/tag32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34.xml"/><Relationship Id="rId7" Type="http://schemas.openxmlformats.org/officeDocument/2006/relationships/tags" Target="../tags/tag338.xml"/><Relationship Id="rId2" Type="http://schemas.openxmlformats.org/officeDocument/2006/relationships/tags" Target="../tags/tag333.xml"/><Relationship Id="rId1" Type="http://schemas.openxmlformats.org/officeDocument/2006/relationships/tags" Target="../tags/tag332.xml"/><Relationship Id="rId6" Type="http://schemas.openxmlformats.org/officeDocument/2006/relationships/tags" Target="../tags/tag337.xml"/><Relationship Id="rId5" Type="http://schemas.openxmlformats.org/officeDocument/2006/relationships/tags" Target="../tags/tag336.xml"/><Relationship Id="rId10" Type="http://schemas.openxmlformats.org/officeDocument/2006/relationships/image" Target="../media/image5.emf"/><Relationship Id="rId4" Type="http://schemas.openxmlformats.org/officeDocument/2006/relationships/tags" Target="../tags/tag335.xml"/><Relationship Id="rId9" Type="http://schemas.openxmlformats.org/officeDocument/2006/relationships/oleObject" Target="../embeddings/oleObject29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64.xml"/><Relationship Id="rId7" Type="http://schemas.openxmlformats.org/officeDocument/2006/relationships/tags" Target="../tags/tag368.xml"/><Relationship Id="rId12" Type="http://schemas.openxmlformats.org/officeDocument/2006/relationships/image" Target="../media/image2.png"/><Relationship Id="rId2" Type="http://schemas.openxmlformats.org/officeDocument/2006/relationships/tags" Target="../tags/tag363.xml"/><Relationship Id="rId1" Type="http://schemas.openxmlformats.org/officeDocument/2006/relationships/tags" Target="../tags/tag362.xml"/><Relationship Id="rId6" Type="http://schemas.openxmlformats.org/officeDocument/2006/relationships/tags" Target="../tags/tag367.xml"/><Relationship Id="rId11" Type="http://schemas.openxmlformats.org/officeDocument/2006/relationships/image" Target="../media/image4.emf"/><Relationship Id="rId5" Type="http://schemas.openxmlformats.org/officeDocument/2006/relationships/tags" Target="../tags/tag366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365.xml"/><Relationship Id="rId9" Type="http://schemas.openxmlformats.org/officeDocument/2006/relationships/image" Target="../media/image3.pn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71.xml"/><Relationship Id="rId7" Type="http://schemas.openxmlformats.org/officeDocument/2006/relationships/tags" Target="../tags/tag375.xml"/><Relationship Id="rId2" Type="http://schemas.openxmlformats.org/officeDocument/2006/relationships/tags" Target="../tags/tag370.xml"/><Relationship Id="rId1" Type="http://schemas.openxmlformats.org/officeDocument/2006/relationships/tags" Target="../tags/tag369.xml"/><Relationship Id="rId6" Type="http://schemas.openxmlformats.org/officeDocument/2006/relationships/tags" Target="../tags/tag374.xml"/><Relationship Id="rId5" Type="http://schemas.openxmlformats.org/officeDocument/2006/relationships/tags" Target="../tags/tag373.xml"/><Relationship Id="rId10" Type="http://schemas.openxmlformats.org/officeDocument/2006/relationships/image" Target="../media/image5.emf"/><Relationship Id="rId4" Type="http://schemas.openxmlformats.org/officeDocument/2006/relationships/tags" Target="../tags/tag372.xml"/><Relationship Id="rId9" Type="http://schemas.openxmlformats.org/officeDocument/2006/relationships/oleObject" Target="../embeddings/oleObject32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78.xml"/><Relationship Id="rId7" Type="http://schemas.openxmlformats.org/officeDocument/2006/relationships/tags" Target="../tags/tag382.xml"/><Relationship Id="rId2" Type="http://schemas.openxmlformats.org/officeDocument/2006/relationships/tags" Target="../tags/tag377.xml"/><Relationship Id="rId1" Type="http://schemas.openxmlformats.org/officeDocument/2006/relationships/tags" Target="../tags/tag376.xml"/><Relationship Id="rId6" Type="http://schemas.openxmlformats.org/officeDocument/2006/relationships/tags" Target="../tags/tag381.xml"/><Relationship Id="rId11" Type="http://schemas.openxmlformats.org/officeDocument/2006/relationships/image" Target="../media/image6.png"/><Relationship Id="rId5" Type="http://schemas.openxmlformats.org/officeDocument/2006/relationships/tags" Target="../tags/tag380.xml"/><Relationship Id="rId10" Type="http://schemas.openxmlformats.org/officeDocument/2006/relationships/image" Target="../media/image5.emf"/><Relationship Id="rId4" Type="http://schemas.openxmlformats.org/officeDocument/2006/relationships/tags" Target="../tags/tag379.xml"/><Relationship Id="rId9" Type="http://schemas.openxmlformats.org/officeDocument/2006/relationships/oleObject" Target="../embeddings/oleObject3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385.xml"/><Relationship Id="rId2" Type="http://schemas.openxmlformats.org/officeDocument/2006/relationships/tags" Target="../tags/tag384.xml"/><Relationship Id="rId1" Type="http://schemas.openxmlformats.org/officeDocument/2006/relationships/tags" Target="../tags/tag383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8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389.xml"/><Relationship Id="rId2" Type="http://schemas.openxmlformats.org/officeDocument/2006/relationships/tags" Target="../tags/tag388.xml"/><Relationship Id="rId1" Type="http://schemas.openxmlformats.org/officeDocument/2006/relationships/tags" Target="../tags/tag387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90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tags" Target="../tags/tag393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92.xml"/><Relationship Id="rId1" Type="http://schemas.openxmlformats.org/officeDocument/2006/relationships/tags" Target="../tags/tag391.xml"/><Relationship Id="rId6" Type="http://schemas.openxmlformats.org/officeDocument/2006/relationships/tags" Target="../tags/tag396.xml"/><Relationship Id="rId5" Type="http://schemas.openxmlformats.org/officeDocument/2006/relationships/tags" Target="../tags/tag395.xml"/><Relationship Id="rId4" Type="http://schemas.openxmlformats.org/officeDocument/2006/relationships/tags" Target="../tags/tag394.xml"/><Relationship Id="rId9" Type="http://schemas.openxmlformats.org/officeDocument/2006/relationships/image" Target="../media/image7.emf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99.xml"/><Relationship Id="rId7" Type="http://schemas.openxmlformats.org/officeDocument/2006/relationships/tags" Target="../tags/tag403.xml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6" Type="http://schemas.openxmlformats.org/officeDocument/2006/relationships/tags" Target="../tags/tag402.xml"/><Relationship Id="rId5" Type="http://schemas.openxmlformats.org/officeDocument/2006/relationships/tags" Target="../tags/tag401.xml"/><Relationship Id="rId10" Type="http://schemas.openxmlformats.org/officeDocument/2006/relationships/image" Target="../media/image7.emf"/><Relationship Id="rId4" Type="http://schemas.openxmlformats.org/officeDocument/2006/relationships/tags" Target="../tags/tag400.xml"/><Relationship Id="rId9" Type="http://schemas.openxmlformats.org/officeDocument/2006/relationships/oleObject" Target="../embeddings/oleObject35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411.xml"/><Relationship Id="rId13" Type="http://schemas.openxmlformats.org/officeDocument/2006/relationships/tags" Target="../tags/tag416.xml"/><Relationship Id="rId3" Type="http://schemas.openxmlformats.org/officeDocument/2006/relationships/tags" Target="../tags/tag406.xml"/><Relationship Id="rId7" Type="http://schemas.openxmlformats.org/officeDocument/2006/relationships/tags" Target="../tags/tag410.xml"/><Relationship Id="rId12" Type="http://schemas.openxmlformats.org/officeDocument/2006/relationships/tags" Target="../tags/tag415.xml"/><Relationship Id="rId2" Type="http://schemas.openxmlformats.org/officeDocument/2006/relationships/tags" Target="../tags/tag405.xml"/><Relationship Id="rId16" Type="http://schemas.openxmlformats.org/officeDocument/2006/relationships/image" Target="../media/image5.emf"/><Relationship Id="rId1" Type="http://schemas.openxmlformats.org/officeDocument/2006/relationships/tags" Target="../tags/tag404.xml"/><Relationship Id="rId6" Type="http://schemas.openxmlformats.org/officeDocument/2006/relationships/tags" Target="../tags/tag409.xml"/><Relationship Id="rId11" Type="http://schemas.openxmlformats.org/officeDocument/2006/relationships/tags" Target="../tags/tag414.xml"/><Relationship Id="rId5" Type="http://schemas.openxmlformats.org/officeDocument/2006/relationships/tags" Target="../tags/tag408.xml"/><Relationship Id="rId15" Type="http://schemas.openxmlformats.org/officeDocument/2006/relationships/oleObject" Target="../embeddings/oleObject36.bin"/><Relationship Id="rId10" Type="http://schemas.openxmlformats.org/officeDocument/2006/relationships/tags" Target="../tags/tag413.xml"/><Relationship Id="rId4" Type="http://schemas.openxmlformats.org/officeDocument/2006/relationships/tags" Target="../tags/tag407.xml"/><Relationship Id="rId9" Type="http://schemas.openxmlformats.org/officeDocument/2006/relationships/tags" Target="../tags/tag412.xml"/><Relationship Id="rId14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424.xml"/><Relationship Id="rId13" Type="http://schemas.openxmlformats.org/officeDocument/2006/relationships/tags" Target="../tags/tag429.xml"/><Relationship Id="rId3" Type="http://schemas.openxmlformats.org/officeDocument/2006/relationships/tags" Target="../tags/tag419.xml"/><Relationship Id="rId7" Type="http://schemas.openxmlformats.org/officeDocument/2006/relationships/tags" Target="../tags/tag423.xml"/><Relationship Id="rId12" Type="http://schemas.openxmlformats.org/officeDocument/2006/relationships/tags" Target="../tags/tag428.xml"/><Relationship Id="rId2" Type="http://schemas.openxmlformats.org/officeDocument/2006/relationships/tags" Target="../tags/tag418.xml"/><Relationship Id="rId16" Type="http://schemas.openxmlformats.org/officeDocument/2006/relationships/image" Target="../media/image5.emf"/><Relationship Id="rId1" Type="http://schemas.openxmlformats.org/officeDocument/2006/relationships/tags" Target="../tags/tag417.xml"/><Relationship Id="rId6" Type="http://schemas.openxmlformats.org/officeDocument/2006/relationships/tags" Target="../tags/tag422.xml"/><Relationship Id="rId11" Type="http://schemas.openxmlformats.org/officeDocument/2006/relationships/tags" Target="../tags/tag427.xml"/><Relationship Id="rId5" Type="http://schemas.openxmlformats.org/officeDocument/2006/relationships/tags" Target="../tags/tag421.xml"/><Relationship Id="rId15" Type="http://schemas.openxmlformats.org/officeDocument/2006/relationships/oleObject" Target="../embeddings/oleObject37.bin"/><Relationship Id="rId10" Type="http://schemas.openxmlformats.org/officeDocument/2006/relationships/tags" Target="../tags/tag426.xml"/><Relationship Id="rId4" Type="http://schemas.openxmlformats.org/officeDocument/2006/relationships/tags" Target="../tags/tag420.xml"/><Relationship Id="rId9" Type="http://schemas.openxmlformats.org/officeDocument/2006/relationships/tags" Target="../tags/tag425.xml"/><Relationship Id="rId14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437.xml"/><Relationship Id="rId13" Type="http://schemas.openxmlformats.org/officeDocument/2006/relationships/tags" Target="../tags/tag442.xml"/><Relationship Id="rId3" Type="http://schemas.openxmlformats.org/officeDocument/2006/relationships/tags" Target="../tags/tag432.xml"/><Relationship Id="rId7" Type="http://schemas.openxmlformats.org/officeDocument/2006/relationships/tags" Target="../tags/tag436.xml"/><Relationship Id="rId12" Type="http://schemas.openxmlformats.org/officeDocument/2006/relationships/tags" Target="../tags/tag441.xml"/><Relationship Id="rId2" Type="http://schemas.openxmlformats.org/officeDocument/2006/relationships/tags" Target="../tags/tag431.xml"/><Relationship Id="rId16" Type="http://schemas.openxmlformats.org/officeDocument/2006/relationships/image" Target="../media/image8.emf"/><Relationship Id="rId1" Type="http://schemas.openxmlformats.org/officeDocument/2006/relationships/tags" Target="../tags/tag430.xml"/><Relationship Id="rId6" Type="http://schemas.openxmlformats.org/officeDocument/2006/relationships/tags" Target="../tags/tag435.xml"/><Relationship Id="rId11" Type="http://schemas.openxmlformats.org/officeDocument/2006/relationships/tags" Target="../tags/tag440.xml"/><Relationship Id="rId5" Type="http://schemas.openxmlformats.org/officeDocument/2006/relationships/tags" Target="../tags/tag434.xml"/><Relationship Id="rId15" Type="http://schemas.openxmlformats.org/officeDocument/2006/relationships/oleObject" Target="../embeddings/oleObject38.bin"/><Relationship Id="rId10" Type="http://schemas.openxmlformats.org/officeDocument/2006/relationships/tags" Target="../tags/tag439.xml"/><Relationship Id="rId4" Type="http://schemas.openxmlformats.org/officeDocument/2006/relationships/tags" Target="../tags/tag433.xml"/><Relationship Id="rId9" Type="http://schemas.openxmlformats.org/officeDocument/2006/relationships/tags" Target="../tags/tag438.xml"/><Relationship Id="rId14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tags" Target="../tags/tag450.xml"/><Relationship Id="rId13" Type="http://schemas.openxmlformats.org/officeDocument/2006/relationships/tags" Target="../tags/tag455.xml"/><Relationship Id="rId3" Type="http://schemas.openxmlformats.org/officeDocument/2006/relationships/tags" Target="../tags/tag445.xml"/><Relationship Id="rId7" Type="http://schemas.openxmlformats.org/officeDocument/2006/relationships/tags" Target="../tags/tag449.xml"/><Relationship Id="rId12" Type="http://schemas.openxmlformats.org/officeDocument/2006/relationships/tags" Target="../tags/tag454.xml"/><Relationship Id="rId2" Type="http://schemas.openxmlformats.org/officeDocument/2006/relationships/tags" Target="../tags/tag444.xml"/><Relationship Id="rId16" Type="http://schemas.openxmlformats.org/officeDocument/2006/relationships/image" Target="../media/image5.emf"/><Relationship Id="rId1" Type="http://schemas.openxmlformats.org/officeDocument/2006/relationships/tags" Target="../tags/tag443.xml"/><Relationship Id="rId6" Type="http://schemas.openxmlformats.org/officeDocument/2006/relationships/tags" Target="../tags/tag448.xml"/><Relationship Id="rId11" Type="http://schemas.openxmlformats.org/officeDocument/2006/relationships/tags" Target="../tags/tag453.xml"/><Relationship Id="rId5" Type="http://schemas.openxmlformats.org/officeDocument/2006/relationships/tags" Target="../tags/tag447.xml"/><Relationship Id="rId15" Type="http://schemas.openxmlformats.org/officeDocument/2006/relationships/oleObject" Target="../embeddings/oleObject39.bin"/><Relationship Id="rId10" Type="http://schemas.openxmlformats.org/officeDocument/2006/relationships/tags" Target="../tags/tag452.xml"/><Relationship Id="rId4" Type="http://schemas.openxmlformats.org/officeDocument/2006/relationships/tags" Target="../tags/tag446.xml"/><Relationship Id="rId9" Type="http://schemas.openxmlformats.org/officeDocument/2006/relationships/tags" Target="../tags/tag451.xml"/><Relationship Id="rId14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463.xml"/><Relationship Id="rId13" Type="http://schemas.openxmlformats.org/officeDocument/2006/relationships/tags" Target="../tags/tag468.xml"/><Relationship Id="rId3" Type="http://schemas.openxmlformats.org/officeDocument/2006/relationships/tags" Target="../tags/tag458.xml"/><Relationship Id="rId7" Type="http://schemas.openxmlformats.org/officeDocument/2006/relationships/tags" Target="../tags/tag462.xml"/><Relationship Id="rId12" Type="http://schemas.openxmlformats.org/officeDocument/2006/relationships/tags" Target="../tags/tag467.xml"/><Relationship Id="rId2" Type="http://schemas.openxmlformats.org/officeDocument/2006/relationships/tags" Target="../tags/tag457.xml"/><Relationship Id="rId16" Type="http://schemas.openxmlformats.org/officeDocument/2006/relationships/image" Target="../media/image8.emf"/><Relationship Id="rId1" Type="http://schemas.openxmlformats.org/officeDocument/2006/relationships/tags" Target="../tags/tag456.xml"/><Relationship Id="rId6" Type="http://schemas.openxmlformats.org/officeDocument/2006/relationships/tags" Target="../tags/tag461.xml"/><Relationship Id="rId11" Type="http://schemas.openxmlformats.org/officeDocument/2006/relationships/tags" Target="../tags/tag466.xml"/><Relationship Id="rId5" Type="http://schemas.openxmlformats.org/officeDocument/2006/relationships/tags" Target="../tags/tag460.xml"/><Relationship Id="rId15" Type="http://schemas.openxmlformats.org/officeDocument/2006/relationships/oleObject" Target="../embeddings/oleObject40.bin"/><Relationship Id="rId10" Type="http://schemas.openxmlformats.org/officeDocument/2006/relationships/tags" Target="../tags/tag465.xml"/><Relationship Id="rId4" Type="http://schemas.openxmlformats.org/officeDocument/2006/relationships/tags" Target="../tags/tag459.xml"/><Relationship Id="rId9" Type="http://schemas.openxmlformats.org/officeDocument/2006/relationships/tags" Target="../tags/tag464.xml"/><Relationship Id="rId14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tags" Target="../tags/tag476.xml"/><Relationship Id="rId13" Type="http://schemas.openxmlformats.org/officeDocument/2006/relationships/oleObject" Target="../embeddings/oleObject41.bin"/><Relationship Id="rId3" Type="http://schemas.openxmlformats.org/officeDocument/2006/relationships/tags" Target="../tags/tag471.xml"/><Relationship Id="rId7" Type="http://schemas.openxmlformats.org/officeDocument/2006/relationships/tags" Target="../tags/tag475.xml"/><Relationship Id="rId12" Type="http://schemas.openxmlformats.org/officeDocument/2006/relationships/slideMaster" Target="../slideMasters/slideMaster4.xml"/><Relationship Id="rId2" Type="http://schemas.openxmlformats.org/officeDocument/2006/relationships/tags" Target="../tags/tag470.xml"/><Relationship Id="rId1" Type="http://schemas.openxmlformats.org/officeDocument/2006/relationships/tags" Target="../tags/tag469.xml"/><Relationship Id="rId6" Type="http://schemas.openxmlformats.org/officeDocument/2006/relationships/tags" Target="../tags/tag474.xml"/><Relationship Id="rId11" Type="http://schemas.openxmlformats.org/officeDocument/2006/relationships/tags" Target="../tags/tag479.xml"/><Relationship Id="rId5" Type="http://schemas.openxmlformats.org/officeDocument/2006/relationships/tags" Target="../tags/tag473.xml"/><Relationship Id="rId10" Type="http://schemas.openxmlformats.org/officeDocument/2006/relationships/tags" Target="../tags/tag478.xml"/><Relationship Id="rId4" Type="http://schemas.openxmlformats.org/officeDocument/2006/relationships/tags" Target="../tags/tag472.xml"/><Relationship Id="rId9" Type="http://schemas.openxmlformats.org/officeDocument/2006/relationships/tags" Target="../tags/tag477.xml"/><Relationship Id="rId1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tags" Target="../tags/tag487.xml"/><Relationship Id="rId13" Type="http://schemas.openxmlformats.org/officeDocument/2006/relationships/tags" Target="../tags/tag492.xml"/><Relationship Id="rId3" Type="http://schemas.openxmlformats.org/officeDocument/2006/relationships/tags" Target="../tags/tag482.xml"/><Relationship Id="rId7" Type="http://schemas.openxmlformats.org/officeDocument/2006/relationships/tags" Target="../tags/tag486.xml"/><Relationship Id="rId12" Type="http://schemas.openxmlformats.org/officeDocument/2006/relationships/tags" Target="../tags/tag491.xml"/><Relationship Id="rId2" Type="http://schemas.openxmlformats.org/officeDocument/2006/relationships/tags" Target="../tags/tag481.xml"/><Relationship Id="rId16" Type="http://schemas.openxmlformats.org/officeDocument/2006/relationships/image" Target="../media/image8.emf"/><Relationship Id="rId1" Type="http://schemas.openxmlformats.org/officeDocument/2006/relationships/tags" Target="../tags/tag480.xml"/><Relationship Id="rId6" Type="http://schemas.openxmlformats.org/officeDocument/2006/relationships/tags" Target="../tags/tag485.xml"/><Relationship Id="rId11" Type="http://schemas.openxmlformats.org/officeDocument/2006/relationships/tags" Target="../tags/tag490.xml"/><Relationship Id="rId5" Type="http://schemas.openxmlformats.org/officeDocument/2006/relationships/tags" Target="../tags/tag484.xml"/><Relationship Id="rId15" Type="http://schemas.openxmlformats.org/officeDocument/2006/relationships/oleObject" Target="../embeddings/oleObject42.bin"/><Relationship Id="rId10" Type="http://schemas.openxmlformats.org/officeDocument/2006/relationships/tags" Target="../tags/tag489.xml"/><Relationship Id="rId4" Type="http://schemas.openxmlformats.org/officeDocument/2006/relationships/tags" Target="../tags/tag483.xml"/><Relationship Id="rId9" Type="http://schemas.openxmlformats.org/officeDocument/2006/relationships/tags" Target="../tags/tag488.xml"/><Relationship Id="rId14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tags" Target="../tags/tag500.xml"/><Relationship Id="rId13" Type="http://schemas.openxmlformats.org/officeDocument/2006/relationships/tags" Target="../tags/tag505.xml"/><Relationship Id="rId3" Type="http://schemas.openxmlformats.org/officeDocument/2006/relationships/tags" Target="../tags/tag495.xml"/><Relationship Id="rId7" Type="http://schemas.openxmlformats.org/officeDocument/2006/relationships/tags" Target="../tags/tag499.xml"/><Relationship Id="rId12" Type="http://schemas.openxmlformats.org/officeDocument/2006/relationships/tags" Target="../tags/tag504.xml"/><Relationship Id="rId2" Type="http://schemas.openxmlformats.org/officeDocument/2006/relationships/tags" Target="../tags/tag494.xml"/><Relationship Id="rId16" Type="http://schemas.openxmlformats.org/officeDocument/2006/relationships/image" Target="../media/image5.emf"/><Relationship Id="rId1" Type="http://schemas.openxmlformats.org/officeDocument/2006/relationships/tags" Target="../tags/tag493.xml"/><Relationship Id="rId6" Type="http://schemas.openxmlformats.org/officeDocument/2006/relationships/tags" Target="../tags/tag498.xml"/><Relationship Id="rId11" Type="http://schemas.openxmlformats.org/officeDocument/2006/relationships/tags" Target="../tags/tag503.xml"/><Relationship Id="rId5" Type="http://schemas.openxmlformats.org/officeDocument/2006/relationships/tags" Target="../tags/tag497.xml"/><Relationship Id="rId15" Type="http://schemas.openxmlformats.org/officeDocument/2006/relationships/oleObject" Target="../embeddings/oleObject43.bin"/><Relationship Id="rId10" Type="http://schemas.openxmlformats.org/officeDocument/2006/relationships/tags" Target="../tags/tag502.xml"/><Relationship Id="rId4" Type="http://schemas.openxmlformats.org/officeDocument/2006/relationships/tags" Target="../tags/tag496.xml"/><Relationship Id="rId9" Type="http://schemas.openxmlformats.org/officeDocument/2006/relationships/tags" Target="../tags/tag501.xml"/><Relationship Id="rId14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513.xml"/><Relationship Id="rId13" Type="http://schemas.openxmlformats.org/officeDocument/2006/relationships/tags" Target="../tags/tag518.xml"/><Relationship Id="rId3" Type="http://schemas.openxmlformats.org/officeDocument/2006/relationships/tags" Target="../tags/tag508.xml"/><Relationship Id="rId7" Type="http://schemas.openxmlformats.org/officeDocument/2006/relationships/tags" Target="../tags/tag512.xml"/><Relationship Id="rId12" Type="http://schemas.openxmlformats.org/officeDocument/2006/relationships/tags" Target="../tags/tag517.xml"/><Relationship Id="rId2" Type="http://schemas.openxmlformats.org/officeDocument/2006/relationships/tags" Target="../tags/tag507.xml"/><Relationship Id="rId16" Type="http://schemas.openxmlformats.org/officeDocument/2006/relationships/image" Target="../media/image5.emf"/><Relationship Id="rId1" Type="http://schemas.openxmlformats.org/officeDocument/2006/relationships/tags" Target="../tags/tag506.xml"/><Relationship Id="rId6" Type="http://schemas.openxmlformats.org/officeDocument/2006/relationships/tags" Target="../tags/tag511.xml"/><Relationship Id="rId11" Type="http://schemas.openxmlformats.org/officeDocument/2006/relationships/tags" Target="../tags/tag516.xml"/><Relationship Id="rId5" Type="http://schemas.openxmlformats.org/officeDocument/2006/relationships/tags" Target="../tags/tag510.xml"/><Relationship Id="rId15" Type="http://schemas.openxmlformats.org/officeDocument/2006/relationships/oleObject" Target="../embeddings/oleObject44.bin"/><Relationship Id="rId10" Type="http://schemas.openxmlformats.org/officeDocument/2006/relationships/tags" Target="../tags/tag515.xml"/><Relationship Id="rId4" Type="http://schemas.openxmlformats.org/officeDocument/2006/relationships/tags" Target="../tags/tag509.xml"/><Relationship Id="rId9" Type="http://schemas.openxmlformats.org/officeDocument/2006/relationships/tags" Target="../tags/tag514.xml"/><Relationship Id="rId14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521.xml"/><Relationship Id="rId7" Type="http://schemas.openxmlformats.org/officeDocument/2006/relationships/tags" Target="../tags/tag525.xml"/><Relationship Id="rId2" Type="http://schemas.openxmlformats.org/officeDocument/2006/relationships/tags" Target="../tags/tag520.xml"/><Relationship Id="rId1" Type="http://schemas.openxmlformats.org/officeDocument/2006/relationships/tags" Target="../tags/tag519.xml"/><Relationship Id="rId6" Type="http://schemas.openxmlformats.org/officeDocument/2006/relationships/tags" Target="../tags/tag524.xml"/><Relationship Id="rId5" Type="http://schemas.openxmlformats.org/officeDocument/2006/relationships/tags" Target="../tags/tag523.xml"/><Relationship Id="rId4" Type="http://schemas.openxmlformats.org/officeDocument/2006/relationships/tags" Target="../tags/tag52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528.xml"/><Relationship Id="rId2" Type="http://schemas.openxmlformats.org/officeDocument/2006/relationships/tags" Target="../tags/tag527.xml"/><Relationship Id="rId1" Type="http://schemas.openxmlformats.org/officeDocument/2006/relationships/tags" Target="../tags/tag526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529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31.xml"/><Relationship Id="rId1" Type="http://schemas.openxmlformats.org/officeDocument/2006/relationships/tags" Target="../tags/tag53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5.bin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rast Title">
  <p:cSld name="Contrast Title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7" name="Google Shape;577;p49"/>
          <p:cNvSpPr>
            <a:spLocks noGrp="1"/>
          </p:cNvSpPr>
          <p:nvPr>
            <p:ph type="pic" idx="2"/>
          </p:nvPr>
        </p:nvSpPr>
        <p:spPr>
          <a:xfrm>
            <a:off x="551942" y="4984025"/>
            <a:ext cx="1901952" cy="969264"/>
          </a:xfrm>
          <a:prstGeom prst="rect">
            <a:avLst/>
          </a:prstGeom>
          <a:noFill/>
          <a:ln>
            <a:noFill/>
          </a:ln>
        </p:spPr>
      </p:sp>
      <p:sp>
        <p:nvSpPr>
          <p:cNvPr id="578" name="Google Shape;578;p49"/>
          <p:cNvSpPr txBox="1">
            <a:spLocks noGrp="1"/>
          </p:cNvSpPr>
          <p:nvPr>
            <p:ph type="body" idx="1"/>
          </p:nvPr>
        </p:nvSpPr>
        <p:spPr>
          <a:xfrm>
            <a:off x="551942" y="4510168"/>
            <a:ext cx="6016752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5pPr>
            <a:lvl6pPr marL="2743200" lvl="5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79" name="Google Shape;579;p49"/>
          <p:cNvSpPr txBox="1">
            <a:spLocks noGrp="1"/>
          </p:cNvSpPr>
          <p:nvPr>
            <p:ph type="subTitle" idx="3"/>
          </p:nvPr>
        </p:nvSpPr>
        <p:spPr>
          <a:xfrm>
            <a:off x="551942" y="4092559"/>
            <a:ext cx="6016752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80" name="Google Shape;580;p49"/>
          <p:cNvSpPr txBox="1">
            <a:spLocks noGrp="1"/>
          </p:cNvSpPr>
          <p:nvPr>
            <p:ph type="title"/>
          </p:nvPr>
        </p:nvSpPr>
        <p:spPr>
          <a:xfrm>
            <a:off x="551942" y="2049805"/>
            <a:ext cx="6016752" cy="1921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lvl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Georgia"/>
              <a:buNone/>
              <a:defRPr sz="44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81" name="Google Shape;581;p4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2187263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49"/>
          <p:cNvSpPr/>
          <p:nvPr/>
        </p:nvSpPr>
        <p:spPr>
          <a:xfrm>
            <a:off x="551942" y="6190488"/>
            <a:ext cx="4710171" cy="356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FIDENCIAL – Não se destina a distribuição. Estudo forneceu uma análise objetiva e baseada em fatos ao IDV para auxiliar o IDV na preparação deste relatório. Todas e quaisquer recomendações e conclusões decorrentes do uso deste relatório pelo IDV são de responsabilidade do IDV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69570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rast 2/3">
  <p:cSld name="Contrast 2/3">
    <p:bg>
      <p:bgPr>
        <a:solidFill>
          <a:schemeClr val="dk1"/>
        </a:solidFill>
        <a:effectLst/>
      </p:bgPr>
    </p:bg>
    <p:spTree>
      <p:nvGrpSpPr>
        <p:cNvPr id="1" name="Shape 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2" name="Google Shape;652;p124"/>
          <p:cNvSpPr/>
          <p:nvPr/>
        </p:nvSpPr>
        <p:spPr>
          <a:xfrm>
            <a:off x="7830312" y="0"/>
            <a:ext cx="4361688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0F0F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53" name="Google Shape;653;p124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 sz="9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9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54" name="Google Shape;654;p124"/>
          <p:cNvCxnSpPr/>
          <p:nvPr/>
        </p:nvCxnSpPr>
        <p:spPr>
          <a:xfrm>
            <a:off x="8173371" y="6453769"/>
            <a:ext cx="3465576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55" name="Google Shape;655;p124"/>
          <p:cNvCxnSpPr/>
          <p:nvPr/>
        </p:nvCxnSpPr>
        <p:spPr>
          <a:xfrm>
            <a:off x="554736" y="6453769"/>
            <a:ext cx="6967728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56" name="Google Shape;656;p124"/>
          <p:cNvCxnSpPr/>
          <p:nvPr/>
        </p:nvCxnSpPr>
        <p:spPr>
          <a:xfrm>
            <a:off x="8173371" y="1181906"/>
            <a:ext cx="3465576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57" name="Google Shape;657;p124"/>
          <p:cNvCxnSpPr/>
          <p:nvPr/>
        </p:nvCxnSpPr>
        <p:spPr>
          <a:xfrm>
            <a:off x="554736" y="1181906"/>
            <a:ext cx="6967728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8" name="Google Shape;658;p124"/>
          <p:cNvSpPr txBox="1">
            <a:spLocks noGrp="1"/>
          </p:cNvSpPr>
          <p:nvPr>
            <p:ph type="title"/>
          </p:nvPr>
        </p:nvSpPr>
        <p:spPr>
          <a:xfrm>
            <a:off x="554736" y="182372"/>
            <a:ext cx="6967728" cy="731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500"/>
              <a:buFont typeface="Georgia"/>
              <a:buNone/>
              <a:defRPr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9" name="Google Shape;659;p124"/>
          <p:cNvSpPr txBox="1">
            <a:spLocks noGrp="1"/>
          </p:cNvSpPr>
          <p:nvPr>
            <p:ph type="subTitle" idx="1"/>
          </p:nvPr>
        </p:nvSpPr>
        <p:spPr>
          <a:xfrm>
            <a:off x="554736" y="903861"/>
            <a:ext cx="696772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Char char="​"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lvl="3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lvl="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lvl="5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60" name="Google Shape;660;p124"/>
          <p:cNvSpPr txBox="1">
            <a:spLocks noGrp="1"/>
          </p:cNvSpPr>
          <p:nvPr>
            <p:ph type="body" idx="2"/>
          </p:nvPr>
        </p:nvSpPr>
        <p:spPr>
          <a:xfrm>
            <a:off x="8173370" y="78768"/>
            <a:ext cx="3466942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79400" algn="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800"/>
              <a:buChar char="​"/>
              <a:defRPr sz="8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marL="1828800" lvl="3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marL="2743200" lvl="5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146500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Contrast 3/4">
  <p:cSld name="1_Contrast 3/4">
    <p:bg>
      <p:bgPr>
        <a:solidFill>
          <a:schemeClr val="dk1"/>
        </a:solidFill>
        <a:effectLst/>
      </p:bgPr>
    </p:bg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2" name="Google Shape;662;p125"/>
          <p:cNvSpPr/>
          <p:nvPr/>
        </p:nvSpPr>
        <p:spPr>
          <a:xfrm>
            <a:off x="9601200" y="0"/>
            <a:ext cx="25908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0F0F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63" name="Google Shape;663;p125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</a:pPr>
            <a:fld id="{00000000-1234-1234-1234-123412341234}" type="slidenum">
              <a:rPr lang="pt-BR"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9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64" name="Google Shape;664;p125"/>
          <p:cNvCxnSpPr/>
          <p:nvPr/>
        </p:nvCxnSpPr>
        <p:spPr>
          <a:xfrm>
            <a:off x="554736" y="6453769"/>
            <a:ext cx="8703564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65" name="Google Shape;665;p125"/>
          <p:cNvCxnSpPr/>
          <p:nvPr/>
        </p:nvCxnSpPr>
        <p:spPr>
          <a:xfrm>
            <a:off x="554736" y="1181906"/>
            <a:ext cx="8703564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6" name="Google Shape;666;p125"/>
          <p:cNvSpPr txBox="1">
            <a:spLocks noGrp="1"/>
          </p:cNvSpPr>
          <p:nvPr>
            <p:ph type="title"/>
          </p:nvPr>
        </p:nvSpPr>
        <p:spPr>
          <a:xfrm>
            <a:off x="554736" y="182372"/>
            <a:ext cx="8703564" cy="731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500"/>
              <a:buFont typeface="Georgia"/>
              <a:buNone/>
              <a:defRPr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7" name="Google Shape;667;p125"/>
          <p:cNvSpPr txBox="1">
            <a:spLocks noGrp="1"/>
          </p:cNvSpPr>
          <p:nvPr>
            <p:ph type="subTitle" idx="1"/>
          </p:nvPr>
        </p:nvSpPr>
        <p:spPr>
          <a:xfrm>
            <a:off x="554736" y="903861"/>
            <a:ext cx="870356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Char char="​"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lvl="3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lvl="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lvl="5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68" name="Google Shape;668;p125"/>
          <p:cNvSpPr txBox="1">
            <a:spLocks noGrp="1"/>
          </p:cNvSpPr>
          <p:nvPr>
            <p:ph type="body" idx="2"/>
          </p:nvPr>
        </p:nvSpPr>
        <p:spPr>
          <a:xfrm>
            <a:off x="9119860" y="78768"/>
            <a:ext cx="252045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79400" algn="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800"/>
              <a:buChar char="​"/>
              <a:defRPr sz="8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marL="1828800" lvl="3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marL="2743200" lvl="5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555007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Reverse Contrast 1/2">
  <p:cSld name="Reverse Contrast 1/2">
    <p:bg>
      <p:bgPr>
        <a:solidFill>
          <a:schemeClr val="dk1"/>
        </a:solidFill>
        <a:effectLst/>
      </p:bgPr>
    </p:bg>
    <p:spTree>
      <p:nvGrpSpPr>
        <p:cNvPr id="1" name="Shape 6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0" name="Google Shape;670;p126"/>
          <p:cNvSpPr/>
          <p:nvPr/>
        </p:nvSpPr>
        <p:spPr>
          <a:xfrm>
            <a:off x="0" y="0"/>
            <a:ext cx="6099048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0F0F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71" name="Google Shape;671;p126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 sz="9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90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72" name="Google Shape;672;p126"/>
          <p:cNvCxnSpPr/>
          <p:nvPr/>
        </p:nvCxnSpPr>
        <p:spPr>
          <a:xfrm>
            <a:off x="6573171" y="6453769"/>
            <a:ext cx="5065776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73" name="Google Shape;673;p126"/>
          <p:cNvCxnSpPr/>
          <p:nvPr/>
        </p:nvCxnSpPr>
        <p:spPr>
          <a:xfrm>
            <a:off x="554736" y="6453769"/>
            <a:ext cx="5065776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74" name="Google Shape;674;p126"/>
          <p:cNvCxnSpPr/>
          <p:nvPr/>
        </p:nvCxnSpPr>
        <p:spPr>
          <a:xfrm>
            <a:off x="6573171" y="1181906"/>
            <a:ext cx="5065776" cy="0"/>
          </a:xfrm>
          <a:prstGeom prst="straightConnector1">
            <a:avLst/>
          </a:prstGeom>
          <a:noFill/>
          <a:ln w="9525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75" name="Google Shape;675;p126"/>
          <p:cNvCxnSpPr/>
          <p:nvPr/>
        </p:nvCxnSpPr>
        <p:spPr>
          <a:xfrm>
            <a:off x="554736" y="1181906"/>
            <a:ext cx="5065776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6" name="Google Shape;676;p126"/>
          <p:cNvSpPr txBox="1">
            <a:spLocks noGrp="1"/>
          </p:cNvSpPr>
          <p:nvPr>
            <p:ph type="title"/>
          </p:nvPr>
        </p:nvSpPr>
        <p:spPr>
          <a:xfrm>
            <a:off x="554736" y="182372"/>
            <a:ext cx="5065776" cy="731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Georgia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7" name="Google Shape;677;p126"/>
          <p:cNvSpPr txBox="1">
            <a:spLocks noGrp="1"/>
          </p:cNvSpPr>
          <p:nvPr>
            <p:ph type="subTitle" idx="1"/>
          </p:nvPr>
        </p:nvSpPr>
        <p:spPr>
          <a:xfrm>
            <a:off x="554736" y="903861"/>
            <a:ext cx="506577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​"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lvl="3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lvl="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lvl="5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78" name="Google Shape;678;p126"/>
          <p:cNvSpPr txBox="1">
            <a:spLocks noGrp="1"/>
          </p:cNvSpPr>
          <p:nvPr>
            <p:ph type="body" idx="2"/>
          </p:nvPr>
        </p:nvSpPr>
        <p:spPr>
          <a:xfrm>
            <a:off x="7159752" y="78768"/>
            <a:ext cx="448056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79400" algn="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800"/>
              <a:buChar char="​"/>
              <a:defRPr sz="8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marL="1828800" lvl="3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marL="2743200" lvl="5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983013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Reverse Contrast 2/3">
  <p:cSld name="Reverse Contrast 2/3">
    <p:bg>
      <p:bgPr>
        <a:solidFill>
          <a:schemeClr val="dk1"/>
        </a:solidFill>
        <a:effectLst/>
      </p:bgPr>
    </p:bg>
    <p:spTree>
      <p:nvGrpSpPr>
        <p:cNvPr id="1" name="Shape 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" name="Google Shape;680;p127"/>
          <p:cNvSpPr/>
          <p:nvPr/>
        </p:nvSpPr>
        <p:spPr>
          <a:xfrm>
            <a:off x="-5702" y="0"/>
            <a:ext cx="4361688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0F0F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81" name="Google Shape;681;p127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 sz="9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90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82" name="Google Shape;682;p127"/>
          <p:cNvCxnSpPr/>
          <p:nvPr/>
        </p:nvCxnSpPr>
        <p:spPr>
          <a:xfrm>
            <a:off x="554736" y="6453769"/>
            <a:ext cx="3465576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83" name="Google Shape;683;p127"/>
          <p:cNvCxnSpPr/>
          <p:nvPr/>
        </p:nvCxnSpPr>
        <p:spPr>
          <a:xfrm>
            <a:off x="4672584" y="6453769"/>
            <a:ext cx="6967728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84" name="Google Shape;684;p127"/>
          <p:cNvCxnSpPr/>
          <p:nvPr/>
        </p:nvCxnSpPr>
        <p:spPr>
          <a:xfrm>
            <a:off x="554736" y="1181906"/>
            <a:ext cx="3465576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85" name="Google Shape;685;p127"/>
          <p:cNvCxnSpPr/>
          <p:nvPr/>
        </p:nvCxnSpPr>
        <p:spPr>
          <a:xfrm>
            <a:off x="4672584" y="1181906"/>
            <a:ext cx="6967728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6" name="Google Shape;686;p127"/>
          <p:cNvSpPr txBox="1">
            <a:spLocks noGrp="1"/>
          </p:cNvSpPr>
          <p:nvPr>
            <p:ph type="title"/>
          </p:nvPr>
        </p:nvSpPr>
        <p:spPr>
          <a:xfrm>
            <a:off x="554736" y="2743200"/>
            <a:ext cx="3465576" cy="7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Georgia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7" name="Google Shape;687;p127"/>
          <p:cNvSpPr txBox="1">
            <a:spLocks noGrp="1"/>
          </p:cNvSpPr>
          <p:nvPr>
            <p:ph type="subTitle" idx="1"/>
          </p:nvPr>
        </p:nvSpPr>
        <p:spPr>
          <a:xfrm>
            <a:off x="554736" y="3661200"/>
            <a:ext cx="3465576" cy="2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​"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lvl="3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lvl="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lvl="5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88" name="Google Shape;688;p127"/>
          <p:cNvSpPr txBox="1">
            <a:spLocks noGrp="1"/>
          </p:cNvSpPr>
          <p:nvPr>
            <p:ph type="body" idx="2"/>
          </p:nvPr>
        </p:nvSpPr>
        <p:spPr>
          <a:xfrm>
            <a:off x="7159752" y="78768"/>
            <a:ext cx="448056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79400" algn="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800"/>
              <a:buChar char="​"/>
              <a:defRPr sz="8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marL="1828800" lvl="3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marL="2743200" lvl="5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963279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Reverse Contrast 3/4">
  <p:cSld name="Reverse Contrast 3/4">
    <p:bg>
      <p:bgPr>
        <a:solidFill>
          <a:schemeClr val="dk1"/>
        </a:solidFill>
        <a:effectLst/>
      </p:bgPr>
    </p:bg>
    <p:spTree>
      <p:nvGrpSpPr>
        <p:cNvPr id="1" name="Shape 6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0" name="Google Shape;690;p128"/>
          <p:cNvSpPr/>
          <p:nvPr/>
        </p:nvSpPr>
        <p:spPr>
          <a:xfrm>
            <a:off x="-5702" y="0"/>
            <a:ext cx="3410584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0F0F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91" name="Google Shape;691;p128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 sz="9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90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92" name="Google Shape;692;p128"/>
          <p:cNvCxnSpPr/>
          <p:nvPr/>
        </p:nvCxnSpPr>
        <p:spPr>
          <a:xfrm>
            <a:off x="554736" y="6453769"/>
            <a:ext cx="25146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93" name="Google Shape;693;p128"/>
          <p:cNvCxnSpPr/>
          <p:nvPr/>
        </p:nvCxnSpPr>
        <p:spPr>
          <a:xfrm>
            <a:off x="3715757" y="6453769"/>
            <a:ext cx="7918704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94" name="Google Shape;694;p128"/>
          <p:cNvCxnSpPr/>
          <p:nvPr/>
        </p:nvCxnSpPr>
        <p:spPr>
          <a:xfrm>
            <a:off x="554736" y="1181906"/>
            <a:ext cx="25146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95" name="Google Shape;695;p128"/>
          <p:cNvCxnSpPr/>
          <p:nvPr/>
        </p:nvCxnSpPr>
        <p:spPr>
          <a:xfrm>
            <a:off x="3715757" y="1181906"/>
            <a:ext cx="7918704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6" name="Google Shape;696;p128"/>
          <p:cNvSpPr txBox="1">
            <a:spLocks noGrp="1"/>
          </p:cNvSpPr>
          <p:nvPr>
            <p:ph type="title"/>
          </p:nvPr>
        </p:nvSpPr>
        <p:spPr>
          <a:xfrm>
            <a:off x="554736" y="2743200"/>
            <a:ext cx="2514600" cy="770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Georgia"/>
              <a:buNone/>
              <a:defRPr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7" name="Google Shape;697;p128"/>
          <p:cNvSpPr txBox="1">
            <a:spLocks noGrp="1"/>
          </p:cNvSpPr>
          <p:nvPr>
            <p:ph type="subTitle" idx="1"/>
          </p:nvPr>
        </p:nvSpPr>
        <p:spPr>
          <a:xfrm>
            <a:off x="554736" y="3661200"/>
            <a:ext cx="2514600" cy="493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Char char="​"/>
              <a:defRPr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lvl="3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lvl="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lvl="5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98" name="Google Shape;698;p128"/>
          <p:cNvSpPr txBox="1">
            <a:spLocks noGrp="1"/>
          </p:cNvSpPr>
          <p:nvPr>
            <p:ph type="body" idx="2"/>
          </p:nvPr>
        </p:nvSpPr>
        <p:spPr>
          <a:xfrm>
            <a:off x="7159752" y="78768"/>
            <a:ext cx="448056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79400" algn="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800"/>
              <a:buChar char="​"/>
              <a:defRPr sz="800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marL="1828800" lvl="3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marL="2743200" lvl="5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605421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rast End">
  <p:cSld name="Contrast End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70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24825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fault">
  <p:cSld name="Default">
    <p:spTree>
      <p:nvGrpSpPr>
        <p:cNvPr id="1" name="Shape 2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" name="Google Shape;213;p43"/>
          <p:cNvSpPr txBox="1">
            <a:spLocks noGrp="1"/>
          </p:cNvSpPr>
          <p:nvPr>
            <p:ph type="title"/>
          </p:nvPr>
        </p:nvSpPr>
        <p:spPr>
          <a:xfrm>
            <a:off x="554736" y="172212"/>
            <a:ext cx="11082528" cy="731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4" name="Google Shape;214;p43"/>
          <p:cNvSpPr txBox="1">
            <a:spLocks noGrp="1"/>
          </p:cNvSpPr>
          <p:nvPr>
            <p:ph type="subTitle" idx="1"/>
          </p:nvPr>
        </p:nvSpPr>
        <p:spPr>
          <a:xfrm>
            <a:off x="554736" y="884725"/>
            <a:ext cx="1108252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15" name="Google Shape;215;p43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 sz="9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9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6" name="Google Shape;216;p43"/>
          <p:cNvSpPr txBox="1">
            <a:spLocks noGrp="1"/>
          </p:cNvSpPr>
          <p:nvPr>
            <p:ph type="body" idx="2"/>
          </p:nvPr>
        </p:nvSpPr>
        <p:spPr>
          <a:xfrm>
            <a:off x="7156704" y="89319"/>
            <a:ext cx="448056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79400" algn="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800"/>
              <a:buChar char="​"/>
              <a:defRPr sz="8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Char char="—"/>
              <a:defRPr/>
            </a:lvl3pPr>
            <a:lvl4pPr marL="1828800" lvl="3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Char char="»"/>
              <a:defRPr/>
            </a:lvl4pPr>
            <a:lvl5pPr marL="2286000" lvl="4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Char char="›"/>
              <a:defRPr/>
            </a:lvl5pPr>
            <a:lvl6pPr marL="2743200" lvl="5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Char char="▫"/>
              <a:defRPr/>
            </a:lvl6pPr>
            <a:lvl7pPr marL="3200400" lvl="6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Char char="▫"/>
              <a:defRPr/>
            </a:lvl7pPr>
            <a:lvl8pPr marL="3657600" lvl="7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Char char="▫"/>
              <a:defRPr/>
            </a:lvl8pPr>
            <a:lvl9pPr marL="4114800" lvl="8" indent="-3429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Char char="▫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147757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7938975" y="1182749"/>
            <a:ext cx="2842592" cy="2842592"/>
          </a:xfrm>
          <a:custGeom>
            <a:avLst/>
            <a:gdLst>
              <a:gd name="connsiteX0" fmla="*/ 1421296 w 2842592"/>
              <a:gd name="connsiteY0" fmla="*/ 0 h 2842592"/>
              <a:gd name="connsiteX1" fmla="*/ 2842592 w 2842592"/>
              <a:gd name="connsiteY1" fmla="*/ 1421296 h 2842592"/>
              <a:gd name="connsiteX2" fmla="*/ 1421296 w 2842592"/>
              <a:gd name="connsiteY2" fmla="*/ 2842592 h 2842592"/>
              <a:gd name="connsiteX3" fmla="*/ 0 w 2842592"/>
              <a:gd name="connsiteY3" fmla="*/ 1421296 h 2842592"/>
              <a:gd name="connsiteX4" fmla="*/ 1421296 w 2842592"/>
              <a:gd name="connsiteY4" fmla="*/ 0 h 28425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42592" h="2842592">
                <a:moveTo>
                  <a:pt x="1421296" y="0"/>
                </a:moveTo>
                <a:cubicBezTo>
                  <a:pt x="2206256" y="0"/>
                  <a:pt x="2842592" y="636336"/>
                  <a:pt x="2842592" y="1421296"/>
                </a:cubicBezTo>
                <a:cubicBezTo>
                  <a:pt x="2842592" y="2206256"/>
                  <a:pt x="2206256" y="2842592"/>
                  <a:pt x="1421296" y="2842592"/>
                </a:cubicBezTo>
                <a:cubicBezTo>
                  <a:pt x="636336" y="2842592"/>
                  <a:pt x="0" y="2206256"/>
                  <a:pt x="0" y="1421296"/>
                </a:cubicBezTo>
                <a:cubicBezTo>
                  <a:pt x="0" y="636336"/>
                  <a:pt x="636336" y="0"/>
                  <a:pt x="1421296" y="0"/>
                </a:cubicBezTo>
                <a:close/>
              </a:path>
            </a:pathLst>
          </a:custGeo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1"/>
          </p:nvPr>
        </p:nvSpPr>
        <p:spPr>
          <a:xfrm>
            <a:off x="5470730" y="1033933"/>
            <a:ext cx="1908314" cy="1908315"/>
          </a:xfrm>
          <a:custGeom>
            <a:avLst/>
            <a:gdLst>
              <a:gd name="connsiteX0" fmla="*/ 954157 w 1908314"/>
              <a:gd name="connsiteY0" fmla="*/ 0 h 1908314"/>
              <a:gd name="connsiteX1" fmla="*/ 1908314 w 1908314"/>
              <a:gd name="connsiteY1" fmla="*/ 954157 h 1908314"/>
              <a:gd name="connsiteX2" fmla="*/ 954157 w 1908314"/>
              <a:gd name="connsiteY2" fmla="*/ 1908314 h 1908314"/>
              <a:gd name="connsiteX3" fmla="*/ 0 w 1908314"/>
              <a:gd name="connsiteY3" fmla="*/ 954157 h 1908314"/>
              <a:gd name="connsiteX4" fmla="*/ 954157 w 1908314"/>
              <a:gd name="connsiteY4" fmla="*/ 0 h 19083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08314" h="1908314">
                <a:moveTo>
                  <a:pt x="954157" y="0"/>
                </a:moveTo>
                <a:cubicBezTo>
                  <a:pt x="1481123" y="0"/>
                  <a:pt x="1908314" y="427191"/>
                  <a:pt x="1908314" y="954157"/>
                </a:cubicBezTo>
                <a:cubicBezTo>
                  <a:pt x="1908314" y="1481123"/>
                  <a:pt x="1481123" y="1908314"/>
                  <a:pt x="954157" y="1908314"/>
                </a:cubicBezTo>
                <a:cubicBezTo>
                  <a:pt x="427191" y="1908314"/>
                  <a:pt x="0" y="1481123"/>
                  <a:pt x="0" y="954157"/>
                </a:cubicBezTo>
                <a:cubicBezTo>
                  <a:pt x="0" y="427191"/>
                  <a:pt x="427191" y="0"/>
                  <a:pt x="954157" y="0"/>
                </a:cubicBezTo>
                <a:close/>
              </a:path>
            </a:pathLst>
          </a:custGeo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20" name="Picture Placeholder 19"/>
          <p:cNvSpPr>
            <a:spLocks noGrp="1"/>
          </p:cNvSpPr>
          <p:nvPr>
            <p:ph type="pic" sz="quarter" idx="12"/>
          </p:nvPr>
        </p:nvSpPr>
        <p:spPr>
          <a:xfrm>
            <a:off x="8654891" y="4577827"/>
            <a:ext cx="1410760" cy="1410760"/>
          </a:xfrm>
          <a:custGeom>
            <a:avLst/>
            <a:gdLst>
              <a:gd name="connsiteX0" fmla="*/ 705380 w 1410760"/>
              <a:gd name="connsiteY0" fmla="*/ 0 h 1410760"/>
              <a:gd name="connsiteX1" fmla="*/ 1410760 w 1410760"/>
              <a:gd name="connsiteY1" fmla="*/ 705380 h 1410760"/>
              <a:gd name="connsiteX2" fmla="*/ 705380 w 1410760"/>
              <a:gd name="connsiteY2" fmla="*/ 1410760 h 1410760"/>
              <a:gd name="connsiteX3" fmla="*/ 0 w 1410760"/>
              <a:gd name="connsiteY3" fmla="*/ 705380 h 1410760"/>
              <a:gd name="connsiteX4" fmla="*/ 705380 w 1410760"/>
              <a:gd name="connsiteY4" fmla="*/ 0 h 1410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10760" h="1410760">
                <a:moveTo>
                  <a:pt x="705380" y="0"/>
                </a:moveTo>
                <a:cubicBezTo>
                  <a:pt x="1094951" y="0"/>
                  <a:pt x="1410760" y="315809"/>
                  <a:pt x="1410760" y="705380"/>
                </a:cubicBezTo>
                <a:cubicBezTo>
                  <a:pt x="1410760" y="1094951"/>
                  <a:pt x="1094951" y="1410760"/>
                  <a:pt x="705380" y="1410760"/>
                </a:cubicBezTo>
                <a:cubicBezTo>
                  <a:pt x="315809" y="1410760"/>
                  <a:pt x="0" y="1094951"/>
                  <a:pt x="0" y="705380"/>
                </a:cubicBezTo>
                <a:cubicBezTo>
                  <a:pt x="0" y="315809"/>
                  <a:pt x="315809" y="0"/>
                  <a:pt x="705380" y="0"/>
                </a:cubicBezTo>
                <a:close/>
              </a:path>
            </a:pathLst>
          </a:custGeo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23" name="Picture Placeholder 22"/>
          <p:cNvSpPr>
            <a:spLocks noGrp="1"/>
          </p:cNvSpPr>
          <p:nvPr>
            <p:ph type="pic" sz="quarter" idx="13"/>
          </p:nvPr>
        </p:nvSpPr>
        <p:spPr>
          <a:xfrm>
            <a:off x="6424886" y="3659502"/>
            <a:ext cx="1410760" cy="1410760"/>
          </a:xfrm>
          <a:custGeom>
            <a:avLst/>
            <a:gdLst>
              <a:gd name="connsiteX0" fmla="*/ 705380 w 1410760"/>
              <a:gd name="connsiteY0" fmla="*/ 0 h 1410760"/>
              <a:gd name="connsiteX1" fmla="*/ 1410760 w 1410760"/>
              <a:gd name="connsiteY1" fmla="*/ 705380 h 1410760"/>
              <a:gd name="connsiteX2" fmla="*/ 705380 w 1410760"/>
              <a:gd name="connsiteY2" fmla="*/ 1410760 h 1410760"/>
              <a:gd name="connsiteX3" fmla="*/ 0 w 1410760"/>
              <a:gd name="connsiteY3" fmla="*/ 705380 h 1410760"/>
              <a:gd name="connsiteX4" fmla="*/ 705380 w 1410760"/>
              <a:gd name="connsiteY4" fmla="*/ 0 h 1410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10760" h="1410760">
                <a:moveTo>
                  <a:pt x="705380" y="0"/>
                </a:moveTo>
                <a:cubicBezTo>
                  <a:pt x="1094951" y="0"/>
                  <a:pt x="1410760" y="315809"/>
                  <a:pt x="1410760" y="705380"/>
                </a:cubicBezTo>
                <a:cubicBezTo>
                  <a:pt x="1410760" y="1094951"/>
                  <a:pt x="1094951" y="1410760"/>
                  <a:pt x="705380" y="1410760"/>
                </a:cubicBezTo>
                <a:cubicBezTo>
                  <a:pt x="315809" y="1410760"/>
                  <a:pt x="0" y="1094951"/>
                  <a:pt x="0" y="705380"/>
                </a:cubicBezTo>
                <a:cubicBezTo>
                  <a:pt x="0" y="315809"/>
                  <a:pt x="315809" y="0"/>
                  <a:pt x="705380" y="0"/>
                </a:cubicBezTo>
                <a:close/>
              </a:path>
            </a:pathLst>
          </a:custGeo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7294088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ontrast Title"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4198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4" imgH="344" progId="TCLayout.ActiveDocument.1">
                  <p:embed/>
                </p:oleObj>
              </mc:Choice>
              <mc:Fallback>
                <p:oleObj name="think-cell Slide" r:id="rId9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7" name="CustomTitleImage">
            <a:extLst>
              <a:ext uri="{FF2B5EF4-FFF2-40B4-BE49-F238E27FC236}">
                <a16:creationId xmlns:a16="http://schemas.microsoft.com/office/drawing/2014/main" id="{21F1240B-FF94-5348-9BC8-7531FA53FCB7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26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805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m Branco" type="blank">
  <p:cSld name="Em Branco"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Google Shape;139;p4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" name="Google Shape;140;p40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" name="Google Shape;141;p40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/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528439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rast Default">
  <p:cSld name="Contrast Default">
    <p:spTree>
      <p:nvGrpSpPr>
        <p:cNvPr id="1" name="Shape 5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0" name="Google Shape;600;p116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 sz="9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9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1" name="Google Shape;601;p116"/>
          <p:cNvSpPr txBox="1">
            <a:spLocks noGrp="1"/>
          </p:cNvSpPr>
          <p:nvPr>
            <p:ph type="title"/>
          </p:nvPr>
        </p:nvSpPr>
        <p:spPr>
          <a:xfrm>
            <a:off x="554736" y="182372"/>
            <a:ext cx="11082528" cy="731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2" name="Google Shape;602;p116"/>
          <p:cNvSpPr txBox="1">
            <a:spLocks noGrp="1"/>
          </p:cNvSpPr>
          <p:nvPr>
            <p:ph type="subTitle" idx="1"/>
          </p:nvPr>
        </p:nvSpPr>
        <p:spPr>
          <a:xfrm>
            <a:off x="554736" y="903861"/>
            <a:ext cx="11082528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Char char="​"/>
              <a:defRPr/>
            </a:lvl1pPr>
            <a:lvl2pPr lvl="1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lvl="3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lvl="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lvl="5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03" name="Google Shape;603;p116"/>
          <p:cNvSpPr txBox="1">
            <a:spLocks noGrp="1"/>
          </p:cNvSpPr>
          <p:nvPr>
            <p:ph type="body" idx="2"/>
          </p:nvPr>
        </p:nvSpPr>
        <p:spPr>
          <a:xfrm>
            <a:off x="7159752" y="78768"/>
            <a:ext cx="448056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79400" algn="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800"/>
              <a:buChar char="​"/>
              <a:defRPr sz="8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marL="1828800" lvl="3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marL="2743200" lvl="5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4782108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rast 3/4">
  <p:cSld name="Contrast 3/4">
    <p:bg>
      <p:bgPr>
        <a:solidFill>
          <a:schemeClr val="dk1"/>
        </a:solidFill>
        <a:effectLst/>
      </p:bgPr>
    </p:bg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41"/>
          <p:cNvSpPr/>
          <p:nvPr/>
        </p:nvSpPr>
        <p:spPr>
          <a:xfrm>
            <a:off x="8781416" y="0"/>
            <a:ext cx="3410584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0F0F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" name="Google Shape;22;p41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</a:pPr>
            <a:fld id="{00000000-1234-1234-1234-123412341234}" type="slidenum">
              <a:rPr lang="pt-BR" sz="900" b="0" i="0" u="none" strike="noStrike" cap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9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3" name="Google Shape;23;p41"/>
          <p:cNvCxnSpPr/>
          <p:nvPr/>
        </p:nvCxnSpPr>
        <p:spPr>
          <a:xfrm>
            <a:off x="9119861" y="6453769"/>
            <a:ext cx="25146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4" name="Google Shape;24;p41"/>
          <p:cNvCxnSpPr/>
          <p:nvPr/>
        </p:nvCxnSpPr>
        <p:spPr>
          <a:xfrm>
            <a:off x="554736" y="6453769"/>
            <a:ext cx="7918704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5" name="Google Shape;25;p41"/>
          <p:cNvCxnSpPr/>
          <p:nvPr/>
        </p:nvCxnSpPr>
        <p:spPr>
          <a:xfrm>
            <a:off x="9119861" y="1181906"/>
            <a:ext cx="2514600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6" name="Google Shape;26;p41"/>
          <p:cNvCxnSpPr/>
          <p:nvPr/>
        </p:nvCxnSpPr>
        <p:spPr>
          <a:xfrm>
            <a:off x="554736" y="1181906"/>
            <a:ext cx="7918704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" name="Google Shape;27;p41"/>
          <p:cNvSpPr txBox="1">
            <a:spLocks noGrp="1"/>
          </p:cNvSpPr>
          <p:nvPr>
            <p:ph type="title"/>
          </p:nvPr>
        </p:nvSpPr>
        <p:spPr>
          <a:xfrm>
            <a:off x="554736" y="182372"/>
            <a:ext cx="7918704" cy="731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500"/>
              <a:buFont typeface="Georgia"/>
              <a:buNone/>
              <a:defRPr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41"/>
          <p:cNvSpPr txBox="1">
            <a:spLocks noGrp="1"/>
          </p:cNvSpPr>
          <p:nvPr>
            <p:ph type="subTitle" idx="1"/>
          </p:nvPr>
        </p:nvSpPr>
        <p:spPr>
          <a:xfrm>
            <a:off x="554736" y="903861"/>
            <a:ext cx="791870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Char char="​"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lvl="3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lvl="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lvl="5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41"/>
          <p:cNvSpPr txBox="1">
            <a:spLocks noGrp="1"/>
          </p:cNvSpPr>
          <p:nvPr>
            <p:ph type="body" idx="2"/>
          </p:nvPr>
        </p:nvSpPr>
        <p:spPr>
          <a:xfrm>
            <a:off x="9119860" y="78768"/>
            <a:ext cx="2520451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79400" algn="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800"/>
              <a:buChar char="​"/>
              <a:defRPr sz="8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marL="1828800" lvl="3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marL="2743200" lvl="5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34468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2158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7" name="CustomTitleImage">
            <a:extLst>
              <a:ext uri="{FF2B5EF4-FFF2-40B4-BE49-F238E27FC236}">
                <a16:creationId xmlns:a16="http://schemas.microsoft.com/office/drawing/2014/main" id="{21F1240B-FF94-5348-9BC8-7531FA53FCB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263" cy="6858000"/>
          </a:xfrm>
          <a:prstGeom prst="rect">
            <a:avLst/>
          </a:prstGeom>
        </p:spPr>
      </p:pic>
      <p:sp>
        <p:nvSpPr>
          <p:cNvPr id="10" name="Disclaimer-English (United States)">
            <a:extLst>
              <a:ext uri="{FF2B5EF4-FFF2-40B4-BE49-F238E27FC236}">
                <a16:creationId xmlns:a16="http://schemas.microsoft.com/office/drawing/2014/main" id="{CE9A27D3-FEF4-4956-82C1-32F9905E865E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4710171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1"/>
                </a:solidFill>
                <a:latin typeface="+mn-lt"/>
              </a:rPr>
              <a:t>CONFIDENCIAL – Não se destina a distribuição. Estudo forneceu uma análise objetiva e baseada em fatos ao IDV para auxiliar o IDV na preparação deste relatório. Todas e quaisquer recomendações e conclusões decorrentes do uso deste relatório pelo IDV são de responsabilidade do IDV</a:t>
            </a:r>
          </a:p>
          <a:p>
            <a:pPr defTabSz="804863" eaLnBrk="0" hangingPunct="0"/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82274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20016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3675263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7757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94EDEB98-3045-499B-B4CA-1965036729D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-3048" y="0"/>
            <a:ext cx="12195048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DFCE260-DDED-46C0-BD2B-3E4C7F8F223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035065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7164750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487510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811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9377179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3132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934340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2403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2188890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5870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377107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rast Top Left">
  <p:cSld name="Contrast Top Left">
    <p:spTree>
      <p:nvGrpSpPr>
        <p:cNvPr id="1" name="Shape 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5" name="Google Shape;605;p117"/>
          <p:cNvSpPr txBox="1">
            <a:spLocks noGrp="1"/>
          </p:cNvSpPr>
          <p:nvPr>
            <p:ph type="title"/>
          </p:nvPr>
        </p:nvSpPr>
        <p:spPr>
          <a:xfrm>
            <a:off x="554736" y="1706563"/>
            <a:ext cx="3813048" cy="8617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Georgia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6" name="Google Shape;606;p117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 sz="9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9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07" name="Google Shape;607;p117"/>
          <p:cNvSpPr txBox="1">
            <a:spLocks noGrp="1"/>
          </p:cNvSpPr>
          <p:nvPr>
            <p:ph type="body" idx="1"/>
          </p:nvPr>
        </p:nvSpPr>
        <p:spPr>
          <a:xfrm>
            <a:off x="7159752" y="78768"/>
            <a:ext cx="448056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79400" algn="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800"/>
              <a:buChar char="​"/>
              <a:defRPr sz="8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marL="1828800" lvl="3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marL="2743200" lvl="5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714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5631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878305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441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>
            <p:custDataLst>
              <p:tags r:id="rId6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3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6930104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4382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4007678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5669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73" imgH="473" progId="TCLayout.ActiveDocument.1">
                  <p:embed/>
                </p:oleObj>
              </mc:Choice>
              <mc:Fallback>
                <p:oleObj name="think-cell Slide" r:id="rId1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9601200" y="0"/>
            <a:ext cx="259080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54736" y="6453769"/>
            <a:ext cx="870356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4736" y="1181906"/>
            <a:ext cx="870356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182372"/>
            <a:ext cx="870356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903861"/>
            <a:ext cx="870356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86828853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8647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5219303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9056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7548091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16079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2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2633920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311645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2764262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End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4155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6441134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rast Mid Left">
  <p:cSld name="Contrast Mid Left">
    <p:spTree>
      <p:nvGrpSpPr>
        <p:cNvPr id="1" name="Shape 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9" name="Google Shape;609;p118"/>
          <p:cNvSpPr txBox="1">
            <a:spLocks noGrp="1"/>
          </p:cNvSpPr>
          <p:nvPr>
            <p:ph type="title"/>
          </p:nvPr>
        </p:nvSpPr>
        <p:spPr>
          <a:xfrm>
            <a:off x="554736" y="3044280"/>
            <a:ext cx="5065776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365750" bIns="0" anchor="ctr" anchorCtr="0">
            <a:noAutofit/>
          </a:bodyPr>
          <a:lstStyle>
            <a:lvl1pPr lvl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Georgia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0" name="Google Shape;610;p118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 sz="9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9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1" name="Google Shape;611;p118"/>
          <p:cNvSpPr txBox="1">
            <a:spLocks noGrp="1"/>
          </p:cNvSpPr>
          <p:nvPr>
            <p:ph type="body" idx="1"/>
          </p:nvPr>
        </p:nvSpPr>
        <p:spPr>
          <a:xfrm>
            <a:off x="7159752" y="78768"/>
            <a:ext cx="448056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79400" algn="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800"/>
              <a:buChar char="​"/>
              <a:defRPr sz="8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marL="1828800" lvl="3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marL="2743200" lvl="5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916087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2833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4" name="LogoImage">
            <a:extLst>
              <a:ext uri="{FF2B5EF4-FFF2-40B4-BE49-F238E27FC236}">
                <a16:creationId xmlns:a16="http://schemas.microsoft.com/office/drawing/2014/main" id="{275CA5E5-0CE7-4325-8DA5-DA17C9380A0C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51942" y="481160"/>
            <a:ext cx="1893201" cy="585216"/>
            <a:chOff x="0" y="973"/>
            <a:chExt cx="7680" cy="2374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051C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artnership">
            <a:extLst>
              <a:ext uri="{FF2B5EF4-FFF2-40B4-BE49-F238E27FC236}">
                <a16:creationId xmlns:a16="http://schemas.microsoft.com/office/drawing/2014/main" id="{584C7219-5480-4637-A895-DD70A997B5EF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  <p:sp>
        <p:nvSpPr>
          <p:cNvPr id="16" name="Disclaimer-English (United States)">
            <a:extLst>
              <a:ext uri="{FF2B5EF4-FFF2-40B4-BE49-F238E27FC236}">
                <a16:creationId xmlns:a16="http://schemas.microsoft.com/office/drawing/2014/main" id="{DE33A820-DA80-4DAB-A0C8-D898C961A90A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4710171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1"/>
                </a:solidFill>
                <a:latin typeface="+mn-lt"/>
              </a:rPr>
              <a:t>CONFIDENCIAL – Não se destina a distribuição. Estudo forneceu uma análise objetiva e baseada em fatos ao IDV para auxiliar o IDV na preparação deste relatório. Todas e quaisquer recomendações e conclusões decorrentes do uso deste relatório pelo IDV são de responsabilidade do IDV</a:t>
            </a:r>
          </a:p>
          <a:p>
            <a:pPr defTabSz="804863" eaLnBrk="0" hangingPunct="0"/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482730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6152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8305504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389682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27149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9025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530036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5719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810071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9612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180967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4013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2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5483676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3723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155D849-0DEC-44CD-849F-C8D9C2279FD6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6525189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8541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572" imgH="588" progId="TCLayout.ActiveDocument.1">
                  <p:embed/>
                </p:oleObj>
              </mc:Choice>
              <mc:Fallback>
                <p:oleObj name="think-cell Slide" r:id="rId15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5"/>
            </p:custDataLst>
          </p:nvPr>
        </p:nvCxnSpPr>
        <p:spPr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18D646E-BD43-4948-96FE-F798F0E18D71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3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582037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rast Section">
  <p:cSld name="Contrast Section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Google Shape;613;p119"/>
          <p:cNvSpPr txBox="1">
            <a:spLocks noGrp="1"/>
          </p:cNvSpPr>
          <p:nvPr>
            <p:ph type="title"/>
          </p:nvPr>
        </p:nvSpPr>
        <p:spPr>
          <a:xfrm>
            <a:off x="554736" y="4580468"/>
            <a:ext cx="11082528" cy="6771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Georgia"/>
              <a:buNone/>
              <a:defRPr sz="44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4" name="Google Shape;614;p119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 sz="9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9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15" name="Google Shape;615;p119"/>
          <p:cNvSpPr txBox="1">
            <a:spLocks noGrp="1"/>
          </p:cNvSpPr>
          <p:nvPr>
            <p:ph type="body" idx="1"/>
          </p:nvPr>
        </p:nvSpPr>
        <p:spPr>
          <a:xfrm>
            <a:off x="7159752" y="78768"/>
            <a:ext cx="448056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79400" algn="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800"/>
              <a:buChar char="​"/>
              <a:defRPr sz="8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marL="1828800" lvl="3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marL="2743200" lvl="5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508072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043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13" imgH="416" progId="TCLayout.ActiveDocument.1">
                  <p:embed/>
                </p:oleObj>
              </mc:Choice>
              <mc:Fallback>
                <p:oleObj name="think-cell Slide" r:id="rId14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BottomLineRight">
            <a:extLst>
              <a:ext uri="{FF2B5EF4-FFF2-40B4-BE49-F238E27FC236}">
                <a16:creationId xmlns:a16="http://schemas.microsoft.com/office/drawing/2014/main" id="{C7EF0021-7C64-4C3A-BB10-343D51B3F040}"/>
              </a:ext>
            </a:extLst>
          </p:cNvPr>
          <p:cNvCxnSpPr/>
          <p:nvPr>
            <p:custDataLst>
              <p:tags r:id="rId5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BottomLineLeft">
            <a:extLst>
              <a:ext uri="{FF2B5EF4-FFF2-40B4-BE49-F238E27FC236}">
                <a16:creationId xmlns:a16="http://schemas.microsoft.com/office/drawing/2014/main" id="{769848ED-A1D9-4D6F-AC16-5512562B47A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TopLineRight">
            <a:extLst>
              <a:ext uri="{FF2B5EF4-FFF2-40B4-BE49-F238E27FC236}">
                <a16:creationId xmlns:a16="http://schemas.microsoft.com/office/drawing/2014/main" id="{9DD5C457-8894-4C00-BE39-CE61754727F6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Left">
            <a:extLst>
              <a:ext uri="{FF2B5EF4-FFF2-40B4-BE49-F238E27FC236}">
                <a16:creationId xmlns:a16="http://schemas.microsoft.com/office/drawing/2014/main" id="{8B2884B5-93FA-4ECC-9065-3398231F02FC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03101480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0107814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865563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4488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artnership">
            <a:extLst>
              <a:ext uri="{FF2B5EF4-FFF2-40B4-BE49-F238E27FC236}">
                <a16:creationId xmlns:a16="http://schemas.microsoft.com/office/drawing/2014/main" id="{7C3A32BD-483D-48A2-B0AF-7A522357124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13" name="LogoImage">
            <a:extLst>
              <a:ext uri="{FF2B5EF4-FFF2-40B4-BE49-F238E27FC236}">
                <a16:creationId xmlns:a16="http://schemas.microsoft.com/office/drawing/2014/main" id="{CC7EE236-F5C9-45E4-A938-FB794BCDD026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0"/>
            <a:ext cx="1893201" cy="585216"/>
            <a:chOff x="0" y="973"/>
            <a:chExt cx="7680" cy="2374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11273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65802236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9758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0811843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rast Title">
  <p:cSld name="Contrast Title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5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7" name="Google Shape;577;p49"/>
          <p:cNvSpPr>
            <a:spLocks noGrp="1"/>
          </p:cNvSpPr>
          <p:nvPr>
            <p:ph type="pic" idx="2"/>
          </p:nvPr>
        </p:nvSpPr>
        <p:spPr>
          <a:xfrm>
            <a:off x="551942" y="4984025"/>
            <a:ext cx="1901952" cy="969264"/>
          </a:xfrm>
          <a:prstGeom prst="rect">
            <a:avLst/>
          </a:prstGeom>
          <a:noFill/>
          <a:ln>
            <a:noFill/>
          </a:ln>
        </p:spPr>
      </p:sp>
      <p:sp>
        <p:nvSpPr>
          <p:cNvPr id="578" name="Google Shape;578;p49"/>
          <p:cNvSpPr txBox="1">
            <a:spLocks noGrp="1"/>
          </p:cNvSpPr>
          <p:nvPr>
            <p:ph type="body" idx="1"/>
          </p:nvPr>
        </p:nvSpPr>
        <p:spPr>
          <a:xfrm>
            <a:off x="551942" y="4510168"/>
            <a:ext cx="6016752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>
                <a:solidFill>
                  <a:schemeClr val="dk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>
                <a:solidFill>
                  <a:schemeClr val="lt1"/>
                </a:solidFill>
              </a:defRPr>
            </a:lvl5pPr>
            <a:lvl6pPr marL="2743200" lvl="5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579" name="Google Shape;579;p49"/>
          <p:cNvSpPr txBox="1">
            <a:spLocks noGrp="1"/>
          </p:cNvSpPr>
          <p:nvPr>
            <p:ph type="subTitle" idx="3"/>
          </p:nvPr>
        </p:nvSpPr>
        <p:spPr>
          <a:xfrm>
            <a:off x="551942" y="4092559"/>
            <a:ext cx="6016752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80" name="Google Shape;580;p49"/>
          <p:cNvSpPr txBox="1">
            <a:spLocks noGrp="1"/>
          </p:cNvSpPr>
          <p:nvPr>
            <p:ph type="title"/>
          </p:nvPr>
        </p:nvSpPr>
        <p:spPr>
          <a:xfrm>
            <a:off x="551942" y="2049805"/>
            <a:ext cx="6016752" cy="19217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rmAutofit/>
          </a:bodyPr>
          <a:lstStyle>
            <a:lvl1pPr lvl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Georgia"/>
              <a:buNone/>
              <a:defRPr sz="44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81" name="Google Shape;581;p4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2187263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582" name="Google Shape;582;p49"/>
          <p:cNvSpPr/>
          <p:nvPr/>
        </p:nvSpPr>
        <p:spPr>
          <a:xfrm>
            <a:off x="551942" y="6190488"/>
            <a:ext cx="4710171" cy="356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pt-BR"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CONFIDENCIAL – Não se destina a distribuição. Estudo forneceu uma análise objetiva e baseada em fatos ao IDV para auxiliar o IDV na preparação deste relatório. Todas e quaisquer recomendações e conclusões decorrentes do uso deste relatório pelo IDV são de responsabilidade do IDV</a:t>
            </a:r>
            <a:endParaRPr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37229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8FF70CFD-CCEE-F32F-131C-81278B8ED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C3A262-1260-419A-A50B-5054AE2E573F}" type="datetimeFigureOut">
              <a:rPr lang="en-US"/>
              <a:pPr>
                <a:defRPr/>
              </a:pPr>
              <a:t>10/3/2023</a:t>
            </a:fld>
            <a:endParaRPr lang="en-US" dirty="0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11BC9482-B564-46E3-C0BF-E74107D426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0BD4AA0-5A02-31FC-FF11-B621F674D2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A3184D-B1D2-4E57-B4B9-AE88F8D62063}" type="slidenum">
              <a:rPr lang="en-US" altLang="pt-BR"/>
              <a:pPr>
                <a:defRPr/>
              </a:pPr>
              <a:t>‹nº›</a:t>
            </a:fld>
            <a:endParaRPr lang="en-US" altLang="pt-BR" dirty="0"/>
          </a:p>
        </p:txBody>
      </p:sp>
    </p:spTree>
    <p:extLst>
      <p:ext uri="{BB962C8B-B14F-4D97-AF65-F5344CB8AC3E}">
        <p14:creationId xmlns:p14="http://schemas.microsoft.com/office/powerpoint/2010/main" val="237689972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4103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7" name="CustomTitleImage">
            <a:extLst>
              <a:ext uri="{FF2B5EF4-FFF2-40B4-BE49-F238E27FC236}">
                <a16:creationId xmlns:a16="http://schemas.microsoft.com/office/drawing/2014/main" id="{21F1240B-FF94-5348-9BC8-7531FA53FCB7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7263" cy="6858000"/>
          </a:xfrm>
          <a:prstGeom prst="rect">
            <a:avLst/>
          </a:prstGeom>
        </p:spPr>
      </p:pic>
      <p:sp>
        <p:nvSpPr>
          <p:cNvPr id="10" name="Disclaimer-English (United States)">
            <a:extLst>
              <a:ext uri="{FF2B5EF4-FFF2-40B4-BE49-F238E27FC236}">
                <a16:creationId xmlns:a16="http://schemas.microsoft.com/office/drawing/2014/main" id="{CE9A27D3-FEF4-4956-82C1-32F9905E865E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4710171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pt-BR" sz="800" dirty="0">
                <a:solidFill>
                  <a:schemeClr val="tx1"/>
                </a:solidFill>
                <a:latin typeface="+mn-lt"/>
              </a:rPr>
              <a:t>CONFIDENCIAL – Não se destina a distribuição. Estudo forneceu uma análise objetiva e baseada em fatos ao IDV para auxiliar o IDV na preparação deste relatório. Todas e quaisquer recomendações e conclusões decorrentes do uso deste relatório pelo IDV são de responsabilidade do IDV</a:t>
            </a:r>
          </a:p>
          <a:p>
            <a:pPr defTabSz="804863" eaLnBrk="0" hangingPunct="0"/>
            <a:endParaRPr lang="en-US" sz="80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1640436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21652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8511382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237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94EDEB98-3045-499B-B4CA-1965036729D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-3048" y="0"/>
            <a:ext cx="12195048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4DFCE260-DDED-46C0-BD2B-3E4C7F8F223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55925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rast Quote">
  <p:cSld name="Contrast Quote">
    <p:spTree>
      <p:nvGrpSpPr>
        <p:cNvPr id="1" name="Shape 6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7" name="Google Shape;617;p120"/>
          <p:cNvSpPr txBox="1">
            <a:spLocks noGrp="1"/>
          </p:cNvSpPr>
          <p:nvPr>
            <p:ph type="title"/>
          </p:nvPr>
        </p:nvSpPr>
        <p:spPr>
          <a:xfrm>
            <a:off x="1505712" y="3592841"/>
            <a:ext cx="9180576" cy="48660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lvl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400"/>
              <a:buFont typeface="Georgia"/>
              <a:buNone/>
              <a:defRPr sz="34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8" name="Google Shape;618;p120"/>
          <p:cNvSpPr txBox="1">
            <a:spLocks noGrp="1"/>
          </p:cNvSpPr>
          <p:nvPr>
            <p:ph type="subTitle" idx="1"/>
          </p:nvPr>
        </p:nvSpPr>
        <p:spPr>
          <a:xfrm>
            <a:off x="1505712" y="4284630"/>
            <a:ext cx="918057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19" name="Google Shape;619;p120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 sz="9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9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0" name="Google Shape;620;p120"/>
          <p:cNvSpPr txBox="1">
            <a:spLocks noGrp="1"/>
          </p:cNvSpPr>
          <p:nvPr>
            <p:ph type="body" idx="2"/>
          </p:nvPr>
        </p:nvSpPr>
        <p:spPr>
          <a:xfrm>
            <a:off x="7159752" y="78768"/>
            <a:ext cx="448056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79400" algn="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800"/>
              <a:buChar char="​"/>
              <a:defRPr sz="8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marL="1828800" lvl="3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marL="2743200" lvl="5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194304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9854785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6813150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3685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37402535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405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43080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4928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3635837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3994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1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>
            <p:custDataLst>
              <p:tags r:id="rId1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164138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08080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5189068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4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>
            <p:custDataLst>
              <p:tags r:id="rId6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3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23446578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3580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6508211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89791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73" imgH="473" progId="TCLayout.ActiveDocument.1">
                  <p:embed/>
                </p:oleObj>
              </mc:Choice>
              <mc:Fallback>
                <p:oleObj name="think-cell Slide" r:id="rId1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9601200" y="0"/>
            <a:ext cx="259080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º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554736" y="6453769"/>
            <a:ext cx="870356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554736" y="1181906"/>
            <a:ext cx="870356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>
          <a:xfrm>
            <a:off x="554736" y="182372"/>
            <a:ext cx="870356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0"/>
            </p:custDataLst>
          </p:nvPr>
        </p:nvSpPr>
        <p:spPr>
          <a:xfrm>
            <a:off x="554736" y="903861"/>
            <a:ext cx="870356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1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232837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rast 1/4">
  <p:cSld name="Contrast 1/4">
    <p:bg>
      <p:bgPr>
        <a:solidFill>
          <a:schemeClr val="dk1"/>
        </a:solidFill>
        <a:effectLst/>
      </p:bgPr>
    </p:bg>
    <p:spTree>
      <p:nvGrpSpPr>
        <p:cNvPr id="1" name="Shape 6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2" name="Google Shape;622;p121"/>
          <p:cNvSpPr/>
          <p:nvPr/>
        </p:nvSpPr>
        <p:spPr>
          <a:xfrm>
            <a:off x="3413760" y="0"/>
            <a:ext cx="877824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23" name="Google Shape;623;p121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 sz="9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9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24" name="Google Shape;624;p121"/>
          <p:cNvCxnSpPr/>
          <p:nvPr/>
        </p:nvCxnSpPr>
        <p:spPr>
          <a:xfrm>
            <a:off x="554736" y="6453769"/>
            <a:ext cx="25146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25" name="Google Shape;625;p121"/>
          <p:cNvCxnSpPr/>
          <p:nvPr/>
        </p:nvCxnSpPr>
        <p:spPr>
          <a:xfrm>
            <a:off x="3715757" y="6453769"/>
            <a:ext cx="791870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26" name="Google Shape;626;p121"/>
          <p:cNvCxnSpPr/>
          <p:nvPr/>
        </p:nvCxnSpPr>
        <p:spPr>
          <a:xfrm>
            <a:off x="3715757" y="1181906"/>
            <a:ext cx="7918704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27" name="Google Shape;627;p121"/>
          <p:cNvCxnSpPr/>
          <p:nvPr/>
        </p:nvCxnSpPr>
        <p:spPr>
          <a:xfrm>
            <a:off x="554736" y="1181906"/>
            <a:ext cx="2514600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8" name="Google Shape;628;p121"/>
          <p:cNvSpPr txBox="1">
            <a:spLocks noGrp="1"/>
          </p:cNvSpPr>
          <p:nvPr>
            <p:ph type="title"/>
          </p:nvPr>
        </p:nvSpPr>
        <p:spPr>
          <a:xfrm>
            <a:off x="554736" y="2744369"/>
            <a:ext cx="2514600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500"/>
              <a:buFont typeface="Georgia"/>
              <a:buNone/>
              <a:defRPr>
                <a:solidFill>
                  <a:schemeClr val="lt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9" name="Google Shape;629;p121"/>
          <p:cNvSpPr txBox="1">
            <a:spLocks noGrp="1"/>
          </p:cNvSpPr>
          <p:nvPr>
            <p:ph type="subTitle" idx="1"/>
          </p:nvPr>
        </p:nvSpPr>
        <p:spPr>
          <a:xfrm>
            <a:off x="554736" y="3659644"/>
            <a:ext cx="2514600" cy="4924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 b="0">
                <a:solidFill>
                  <a:schemeClr val="lt2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30" name="Google Shape;630;p121"/>
          <p:cNvSpPr txBox="1">
            <a:spLocks noGrp="1"/>
          </p:cNvSpPr>
          <p:nvPr>
            <p:ph type="body" idx="2"/>
          </p:nvPr>
        </p:nvSpPr>
        <p:spPr>
          <a:xfrm>
            <a:off x="7159752" y="78768"/>
            <a:ext cx="448056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79400" algn="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800"/>
              <a:buChar char="​"/>
              <a:defRPr sz="8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marL="1828800" lvl="3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marL="2743200" lvl="5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206303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6648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 hidden="1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>
            <p:custDataLst>
              <p:tags r:id="rId6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>
            <p:custDataLst>
              <p:tags r:id="rId7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>
            <p:custDataLst>
              <p:tags r:id="rId8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>
            <p:custDataLst>
              <p:tags r:id="rId9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4094249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4828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3200"/>
            <a:ext cx="3465576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6924478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52162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13" imgH="416" progId="TCLayout.ActiveDocument.1">
                  <p:embed/>
                </p:oleObj>
              </mc:Choice>
              <mc:Fallback>
                <p:oleObj name="think-cell Slide" r:id="rId15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 hidden="1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>
            <p:custDataLst>
              <p:tags r:id="rId10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554736" y="2743200"/>
            <a:ext cx="2514600" cy="770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2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3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8622601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>
            <p:custDataLst>
              <p:tags r:id="rId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>
            <p:custDataLst>
              <p:tags r:id="rId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 hidden="1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2829135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 hidden="1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nº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7025202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rast End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374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8106298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rast 1/3">
  <p:cSld name="Contrast 1/3">
    <p:bg>
      <p:bgPr>
        <a:solidFill>
          <a:schemeClr val="dk1"/>
        </a:solidFill>
        <a:effectLst/>
      </p:bgPr>
    </p:bg>
    <p:spTree>
      <p:nvGrpSpPr>
        <p:cNvPr id="1" name="Shape 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2" name="Google Shape;632;p122"/>
          <p:cNvSpPr/>
          <p:nvPr/>
        </p:nvSpPr>
        <p:spPr>
          <a:xfrm>
            <a:off x="4364736" y="0"/>
            <a:ext cx="7827264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3" name="Google Shape;633;p122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 sz="9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9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34" name="Google Shape;634;p122"/>
          <p:cNvCxnSpPr/>
          <p:nvPr/>
        </p:nvCxnSpPr>
        <p:spPr>
          <a:xfrm>
            <a:off x="4671219" y="6453769"/>
            <a:ext cx="6967728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35" name="Google Shape;635;p122"/>
          <p:cNvCxnSpPr/>
          <p:nvPr/>
        </p:nvCxnSpPr>
        <p:spPr>
          <a:xfrm>
            <a:off x="554736" y="6453769"/>
            <a:ext cx="3465576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36" name="Google Shape;636;p122"/>
          <p:cNvCxnSpPr/>
          <p:nvPr/>
        </p:nvCxnSpPr>
        <p:spPr>
          <a:xfrm>
            <a:off x="4671219" y="1181906"/>
            <a:ext cx="6967728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37" name="Google Shape;637;p122"/>
          <p:cNvCxnSpPr/>
          <p:nvPr/>
        </p:nvCxnSpPr>
        <p:spPr>
          <a:xfrm>
            <a:off x="554736" y="1181906"/>
            <a:ext cx="3465576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8" name="Google Shape;638;p122"/>
          <p:cNvSpPr txBox="1">
            <a:spLocks noGrp="1"/>
          </p:cNvSpPr>
          <p:nvPr>
            <p:ph type="title"/>
          </p:nvPr>
        </p:nvSpPr>
        <p:spPr>
          <a:xfrm>
            <a:off x="554736" y="2744369"/>
            <a:ext cx="3465576" cy="769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500"/>
              <a:buFont typeface="Georgia"/>
              <a:buNone/>
              <a:defRPr>
                <a:solidFill>
                  <a:schemeClr val="lt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9" name="Google Shape;639;p122"/>
          <p:cNvSpPr txBox="1">
            <a:spLocks noGrp="1"/>
          </p:cNvSpPr>
          <p:nvPr>
            <p:ph type="subTitle" idx="1"/>
          </p:nvPr>
        </p:nvSpPr>
        <p:spPr>
          <a:xfrm>
            <a:off x="554735" y="3659644"/>
            <a:ext cx="346557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lt2"/>
              </a:buClr>
              <a:buSzPts val="1600"/>
              <a:buNone/>
              <a:defRPr sz="1600" b="0">
                <a:solidFill>
                  <a:schemeClr val="lt2"/>
                </a:solidFill>
              </a:defRPr>
            </a:lvl1pPr>
            <a:lvl2pPr lvl="1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40" name="Google Shape;640;p122"/>
          <p:cNvSpPr txBox="1">
            <a:spLocks noGrp="1"/>
          </p:cNvSpPr>
          <p:nvPr>
            <p:ph type="body" idx="2"/>
          </p:nvPr>
        </p:nvSpPr>
        <p:spPr>
          <a:xfrm>
            <a:off x="7159752" y="78768"/>
            <a:ext cx="448056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79400" algn="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800"/>
              <a:buChar char="​"/>
              <a:defRPr sz="8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marL="1828800" lvl="3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marL="2743200" lvl="5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96848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rast 1/2">
  <p:cSld name="Contrast 1/2">
    <p:bg>
      <p:bgPr>
        <a:solidFill>
          <a:schemeClr val="dk1"/>
        </a:solidFill>
        <a:effectLst/>
      </p:bgPr>
    </p:bg>
    <p:spTree>
      <p:nvGrpSpPr>
        <p:cNvPr id="1" name="Shape 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2" name="Google Shape;642;p123"/>
          <p:cNvSpPr/>
          <p:nvPr/>
        </p:nvSpPr>
        <p:spPr>
          <a:xfrm>
            <a:off x="6092952" y="0"/>
            <a:ext cx="6099048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rgbClr val="F0F0F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43" name="Google Shape;643;p123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pt-BR" sz="9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nº›</a:t>
            </a:fld>
            <a:endParaRPr sz="9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644" name="Google Shape;644;p123"/>
          <p:cNvCxnSpPr/>
          <p:nvPr/>
        </p:nvCxnSpPr>
        <p:spPr>
          <a:xfrm>
            <a:off x="6573171" y="6453769"/>
            <a:ext cx="5065776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45" name="Google Shape;645;p123"/>
          <p:cNvCxnSpPr/>
          <p:nvPr/>
        </p:nvCxnSpPr>
        <p:spPr>
          <a:xfrm>
            <a:off x="554736" y="6453769"/>
            <a:ext cx="5065776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46" name="Google Shape;646;p123"/>
          <p:cNvCxnSpPr/>
          <p:nvPr/>
        </p:nvCxnSpPr>
        <p:spPr>
          <a:xfrm>
            <a:off x="6573171" y="1181906"/>
            <a:ext cx="5065776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647" name="Google Shape;647;p123"/>
          <p:cNvCxnSpPr/>
          <p:nvPr/>
        </p:nvCxnSpPr>
        <p:spPr>
          <a:xfrm>
            <a:off x="554736" y="1181906"/>
            <a:ext cx="5065776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8" name="Google Shape;648;p123"/>
          <p:cNvSpPr txBox="1">
            <a:spLocks noGrp="1"/>
          </p:cNvSpPr>
          <p:nvPr>
            <p:ph type="title"/>
          </p:nvPr>
        </p:nvSpPr>
        <p:spPr>
          <a:xfrm>
            <a:off x="554736" y="182372"/>
            <a:ext cx="5065776" cy="731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500"/>
              <a:buFont typeface="Georgia"/>
              <a:buNone/>
              <a:defRPr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9" name="Google Shape;649;p123"/>
          <p:cNvSpPr txBox="1">
            <a:spLocks noGrp="1"/>
          </p:cNvSpPr>
          <p:nvPr>
            <p:ph type="subTitle" idx="1"/>
          </p:nvPr>
        </p:nvSpPr>
        <p:spPr>
          <a:xfrm>
            <a:off x="554736" y="903861"/>
            <a:ext cx="5065776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2"/>
              </a:buClr>
              <a:buSzPts val="1600"/>
              <a:buChar char="​"/>
              <a:defRPr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lvl="3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lvl="4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lvl="5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lvl="6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lvl="7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lvl="8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  <p:sp>
        <p:nvSpPr>
          <p:cNvPr id="650" name="Google Shape;650;p123"/>
          <p:cNvSpPr txBox="1">
            <a:spLocks noGrp="1"/>
          </p:cNvSpPr>
          <p:nvPr>
            <p:ph type="body" idx="2"/>
          </p:nvPr>
        </p:nvSpPr>
        <p:spPr>
          <a:xfrm>
            <a:off x="7159752" y="78768"/>
            <a:ext cx="448056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marL="457200" lvl="0" indent="-279400" algn="r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800"/>
              <a:buChar char="​"/>
              <a:defRPr sz="800"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—"/>
              <a:defRPr/>
            </a:lvl3pPr>
            <a:lvl4pPr marL="1828800" lvl="3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»"/>
              <a:defRPr/>
            </a:lvl4pPr>
            <a:lvl5pPr marL="2286000" lvl="4" indent="-3429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ts val="1800"/>
              <a:buChar char="›"/>
              <a:defRPr/>
            </a:lvl5pPr>
            <a:lvl6pPr marL="2743200" lvl="5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8pPr>
            <a:lvl9pPr marL="4114800" lvl="8" indent="-22860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339922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tags" Target="../tags/tag12.xml"/><Relationship Id="rId39" Type="http://schemas.openxmlformats.org/officeDocument/2006/relationships/tags" Target="../tags/tag25.xml"/><Relationship Id="rId21" Type="http://schemas.openxmlformats.org/officeDocument/2006/relationships/tags" Target="../tags/tag7.xml"/><Relationship Id="rId34" Type="http://schemas.openxmlformats.org/officeDocument/2006/relationships/tags" Target="../tags/tag20.xml"/><Relationship Id="rId42" Type="http://schemas.openxmlformats.org/officeDocument/2006/relationships/tags" Target="../tags/tag28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9" Type="http://schemas.openxmlformats.org/officeDocument/2006/relationships/tags" Target="../tags/tag15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tags" Target="../tags/tag10.xml"/><Relationship Id="rId32" Type="http://schemas.openxmlformats.org/officeDocument/2006/relationships/tags" Target="../tags/tag18.xml"/><Relationship Id="rId37" Type="http://schemas.openxmlformats.org/officeDocument/2006/relationships/tags" Target="../tags/tag23.xml"/><Relationship Id="rId40" Type="http://schemas.openxmlformats.org/officeDocument/2006/relationships/tags" Target="../tags/tag26.xml"/><Relationship Id="rId45" Type="http://schemas.openxmlformats.org/officeDocument/2006/relationships/image" Target="../media/image4.emf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tags" Target="../tags/tag9.xml"/><Relationship Id="rId28" Type="http://schemas.openxmlformats.org/officeDocument/2006/relationships/tags" Target="../tags/tag14.xml"/><Relationship Id="rId36" Type="http://schemas.openxmlformats.org/officeDocument/2006/relationships/tags" Target="../tags/tag22.xml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31" Type="http://schemas.openxmlformats.org/officeDocument/2006/relationships/tags" Target="../tags/tag17.xml"/><Relationship Id="rId44" Type="http://schemas.openxmlformats.org/officeDocument/2006/relationships/oleObject" Target="../embeddings/oleObject2.bin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tags" Target="../tags/tag8.xml"/><Relationship Id="rId27" Type="http://schemas.openxmlformats.org/officeDocument/2006/relationships/tags" Target="../tags/tag13.xml"/><Relationship Id="rId30" Type="http://schemas.openxmlformats.org/officeDocument/2006/relationships/tags" Target="../tags/tag16.xml"/><Relationship Id="rId35" Type="http://schemas.openxmlformats.org/officeDocument/2006/relationships/tags" Target="../tags/tag21.xml"/><Relationship Id="rId43" Type="http://schemas.openxmlformats.org/officeDocument/2006/relationships/tags" Target="../tags/tag29.xml"/><Relationship Id="rId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tags" Target="../tags/tag11.xml"/><Relationship Id="rId33" Type="http://schemas.openxmlformats.org/officeDocument/2006/relationships/tags" Target="../tags/tag19.xml"/><Relationship Id="rId38" Type="http://schemas.openxmlformats.org/officeDocument/2006/relationships/tags" Target="../tags/tag24.xml"/><Relationship Id="rId20" Type="http://schemas.openxmlformats.org/officeDocument/2006/relationships/theme" Target="../theme/theme2.xml"/><Relationship Id="rId41" Type="http://schemas.openxmlformats.org/officeDocument/2006/relationships/tags" Target="../tags/tag2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theme" Target="../theme/theme3.xml"/><Relationship Id="rId26" Type="http://schemas.openxmlformats.org/officeDocument/2006/relationships/tags" Target="../tags/tag207.xml"/><Relationship Id="rId39" Type="http://schemas.openxmlformats.org/officeDocument/2006/relationships/tags" Target="../tags/tag220.xml"/><Relationship Id="rId21" Type="http://schemas.openxmlformats.org/officeDocument/2006/relationships/tags" Target="../tags/tag202.xml"/><Relationship Id="rId34" Type="http://schemas.openxmlformats.org/officeDocument/2006/relationships/tags" Target="../tags/tag215.xml"/><Relationship Id="rId42" Type="http://schemas.openxmlformats.org/officeDocument/2006/relationships/image" Target="../media/image5.emf"/><Relationship Id="rId7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tags" Target="../tags/tag201.xml"/><Relationship Id="rId29" Type="http://schemas.openxmlformats.org/officeDocument/2006/relationships/tags" Target="../tags/tag210.xml"/><Relationship Id="rId41" Type="http://schemas.openxmlformats.org/officeDocument/2006/relationships/oleObject" Target="../embeddings/oleObject18.bin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tags" Target="../tags/tag205.xml"/><Relationship Id="rId32" Type="http://schemas.openxmlformats.org/officeDocument/2006/relationships/tags" Target="../tags/tag213.xml"/><Relationship Id="rId37" Type="http://schemas.openxmlformats.org/officeDocument/2006/relationships/tags" Target="../tags/tag218.xml"/><Relationship Id="rId40" Type="http://schemas.openxmlformats.org/officeDocument/2006/relationships/tags" Target="../tags/tag221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tags" Target="../tags/tag204.xml"/><Relationship Id="rId28" Type="http://schemas.openxmlformats.org/officeDocument/2006/relationships/tags" Target="../tags/tag209.xml"/><Relationship Id="rId36" Type="http://schemas.openxmlformats.org/officeDocument/2006/relationships/tags" Target="../tags/tag217.xml"/><Relationship Id="rId10" Type="http://schemas.openxmlformats.org/officeDocument/2006/relationships/slideLayout" Target="../slideLayouts/slideLayout49.xml"/><Relationship Id="rId19" Type="http://schemas.openxmlformats.org/officeDocument/2006/relationships/tags" Target="../tags/tag200.xml"/><Relationship Id="rId31" Type="http://schemas.openxmlformats.org/officeDocument/2006/relationships/tags" Target="../tags/tag212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tags" Target="../tags/tag203.xml"/><Relationship Id="rId27" Type="http://schemas.openxmlformats.org/officeDocument/2006/relationships/tags" Target="../tags/tag208.xml"/><Relationship Id="rId30" Type="http://schemas.openxmlformats.org/officeDocument/2006/relationships/tags" Target="../tags/tag211.xml"/><Relationship Id="rId35" Type="http://schemas.openxmlformats.org/officeDocument/2006/relationships/tags" Target="../tags/tag216.xml"/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tags" Target="../tags/tag206.xml"/><Relationship Id="rId33" Type="http://schemas.openxmlformats.org/officeDocument/2006/relationships/tags" Target="../tags/tag214.xml"/><Relationship Id="rId38" Type="http://schemas.openxmlformats.org/officeDocument/2006/relationships/tags" Target="../tags/tag21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9.xml"/><Relationship Id="rId18" Type="http://schemas.openxmlformats.org/officeDocument/2006/relationships/slideLayout" Target="../slideLayouts/slideLayout74.xml"/><Relationship Id="rId26" Type="http://schemas.openxmlformats.org/officeDocument/2006/relationships/tags" Target="../tags/tag344.xml"/><Relationship Id="rId39" Type="http://schemas.openxmlformats.org/officeDocument/2006/relationships/tags" Target="../tags/tag357.xml"/><Relationship Id="rId21" Type="http://schemas.openxmlformats.org/officeDocument/2006/relationships/tags" Target="../tags/tag339.xml"/><Relationship Id="rId34" Type="http://schemas.openxmlformats.org/officeDocument/2006/relationships/tags" Target="../tags/tag352.xml"/><Relationship Id="rId42" Type="http://schemas.openxmlformats.org/officeDocument/2006/relationships/tags" Target="../tags/tag360.xml"/><Relationship Id="rId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9" Type="http://schemas.openxmlformats.org/officeDocument/2006/relationships/tags" Target="../tags/tag347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tags" Target="../tags/tag342.xml"/><Relationship Id="rId32" Type="http://schemas.openxmlformats.org/officeDocument/2006/relationships/tags" Target="../tags/tag350.xml"/><Relationship Id="rId37" Type="http://schemas.openxmlformats.org/officeDocument/2006/relationships/tags" Target="../tags/tag355.xml"/><Relationship Id="rId40" Type="http://schemas.openxmlformats.org/officeDocument/2006/relationships/tags" Target="../tags/tag358.xml"/><Relationship Id="rId45" Type="http://schemas.openxmlformats.org/officeDocument/2006/relationships/image" Target="../media/image4.emf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tags" Target="../tags/tag341.xml"/><Relationship Id="rId28" Type="http://schemas.openxmlformats.org/officeDocument/2006/relationships/tags" Target="../tags/tag346.xml"/><Relationship Id="rId36" Type="http://schemas.openxmlformats.org/officeDocument/2006/relationships/tags" Target="../tags/tag354.xml"/><Relationship Id="rId10" Type="http://schemas.openxmlformats.org/officeDocument/2006/relationships/slideLayout" Target="../slideLayouts/slideLayout66.xml"/><Relationship Id="rId19" Type="http://schemas.openxmlformats.org/officeDocument/2006/relationships/slideLayout" Target="../slideLayouts/slideLayout75.xml"/><Relationship Id="rId31" Type="http://schemas.openxmlformats.org/officeDocument/2006/relationships/tags" Target="../tags/tag349.xml"/><Relationship Id="rId44" Type="http://schemas.openxmlformats.org/officeDocument/2006/relationships/oleObject" Target="../embeddings/oleObject30.bin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tags" Target="../tags/tag340.xml"/><Relationship Id="rId27" Type="http://schemas.openxmlformats.org/officeDocument/2006/relationships/tags" Target="../tags/tag345.xml"/><Relationship Id="rId30" Type="http://schemas.openxmlformats.org/officeDocument/2006/relationships/tags" Target="../tags/tag348.xml"/><Relationship Id="rId35" Type="http://schemas.openxmlformats.org/officeDocument/2006/relationships/tags" Target="../tags/tag353.xml"/><Relationship Id="rId43" Type="http://schemas.openxmlformats.org/officeDocument/2006/relationships/tags" Target="../tags/tag361.xml"/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8.xml"/><Relationship Id="rId17" Type="http://schemas.openxmlformats.org/officeDocument/2006/relationships/slideLayout" Target="../slideLayouts/slideLayout73.xml"/><Relationship Id="rId25" Type="http://schemas.openxmlformats.org/officeDocument/2006/relationships/tags" Target="../tags/tag343.xml"/><Relationship Id="rId33" Type="http://schemas.openxmlformats.org/officeDocument/2006/relationships/tags" Target="../tags/tag351.xml"/><Relationship Id="rId38" Type="http://schemas.openxmlformats.org/officeDocument/2006/relationships/tags" Target="../tags/tag356.xml"/><Relationship Id="rId20" Type="http://schemas.openxmlformats.org/officeDocument/2006/relationships/theme" Target="../theme/theme4.xml"/><Relationship Id="rId41" Type="http://schemas.openxmlformats.org/officeDocument/2006/relationships/tags" Target="../tags/tag3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72" name="Google Shape;572;p48"/>
          <p:cNvCxnSpPr/>
          <p:nvPr/>
        </p:nvCxnSpPr>
        <p:spPr>
          <a:xfrm>
            <a:off x="554736" y="6453769"/>
            <a:ext cx="11082528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573" name="Google Shape;573;p48"/>
          <p:cNvCxnSpPr/>
          <p:nvPr/>
        </p:nvCxnSpPr>
        <p:spPr>
          <a:xfrm>
            <a:off x="554736" y="1181906"/>
            <a:ext cx="11082528" cy="0"/>
          </a:xfrm>
          <a:prstGeom prst="straightConnector1">
            <a:avLst/>
          </a:prstGeom>
          <a:noFill/>
          <a:ln w="9525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4" name="Google Shape;574;p48"/>
          <p:cNvSpPr txBox="1">
            <a:spLocks noGrp="1"/>
          </p:cNvSpPr>
          <p:nvPr>
            <p:ph type="title"/>
          </p:nvPr>
        </p:nvSpPr>
        <p:spPr>
          <a:xfrm>
            <a:off x="554736" y="172212"/>
            <a:ext cx="11082528" cy="731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R="0" lvl="0" algn="l" rtl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500"/>
              <a:buFont typeface="Georgia"/>
              <a:buNone/>
              <a:defRPr sz="2500" b="1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75" name="Google Shape;575;p48"/>
          <p:cNvSpPr txBox="1"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Quattrocento Sans"/>
              <a:buChar char="​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Noto Sans Symbols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—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»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Char char="›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dk1"/>
              </a:buClr>
              <a:buSzPts val="1600"/>
              <a:buFont typeface="Arial"/>
              <a:buNone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0416458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755" r:id="rId18"/>
    <p:sldLayoutId id="2147483758" r:id="rId19"/>
    <p:sldLayoutId id="2147483759" r:id="rId2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2" orient="horz" pos="3912">
          <p15:clr>
            <a:srgbClr val="5ACBF0"/>
          </p15:clr>
        </p15:guide>
        <p15:guide id="3" orient="horz" pos="1075">
          <p15:clr>
            <a:srgbClr val="F26B43"/>
          </p15:clr>
        </p15:guide>
        <p15:guide id="4" pos="7329">
          <p15:clr>
            <a:srgbClr val="F26B43"/>
          </p15:clr>
        </p15:guide>
        <p15:guide id="5" pos="345">
          <p15:clr>
            <a:srgbClr val="F26B43"/>
          </p15:clr>
        </p15:guide>
        <p15:guide id="6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90530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344" imgH="344" progId="TCLayout.ActiveDocument.1">
                  <p:embed/>
                </p:oleObj>
              </mc:Choice>
              <mc:Fallback>
                <p:oleObj name="think-cell Slide" r:id="rId44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>
            <p:custDataLst>
              <p:tags r:id="rId23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>
            <p:custDataLst>
              <p:tags r:id="rId2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>
            <p:custDataLst>
              <p:tags r:id="rId2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>
            <p:custDataLst>
              <p:tags r:id="rId27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6055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  <p:sldLayoutId id="2147483696" r:id="rId17"/>
    <p:sldLayoutId id="2147483697" r:id="rId18"/>
    <p:sldLayoutId id="2147483698" r:id="rId19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853560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13" imgH="416" progId="TCLayout.ActiveDocument.1">
                  <p:embed/>
                </p:oleObj>
              </mc:Choice>
              <mc:Fallback>
                <p:oleObj name="think-cell Slide" r:id="rId4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2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0274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57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324506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4" imgW="344" imgH="344" progId="TCLayout.ActiveDocument.1">
                  <p:embed/>
                </p:oleObj>
              </mc:Choice>
              <mc:Fallback>
                <p:oleObj name="think-cell Slide" r:id="rId44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 hidden="1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>
            <p:custDataLst>
              <p:tags r:id="rId23"/>
            </p:custDataLst>
          </p:nvPr>
        </p:nvSpPr>
        <p:spPr bwMode="black">
          <a:xfrm>
            <a:off x="10709936" y="6499381"/>
            <a:ext cx="64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00" kern="12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>
            <p:custDataLst>
              <p:tags r:id="rId24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>
            <p:custDataLst>
              <p:tags r:id="rId25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>
            <p:custDataLst>
              <p:tags r:id="rId27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>
            <p:custDataLst>
              <p:tags r:id="rId28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7752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tiff"/><Relationship Id="rId3" Type="http://schemas.openxmlformats.org/officeDocument/2006/relationships/tags" Target="../tags/tag534.xml"/><Relationship Id="rId7" Type="http://schemas.openxmlformats.org/officeDocument/2006/relationships/image" Target="../media/image10.emf"/><Relationship Id="rId2" Type="http://schemas.openxmlformats.org/officeDocument/2006/relationships/tags" Target="../tags/tag533.xml"/><Relationship Id="rId1" Type="http://schemas.openxmlformats.org/officeDocument/2006/relationships/tags" Target="../tags/tag532.xml"/><Relationship Id="rId6" Type="http://schemas.openxmlformats.org/officeDocument/2006/relationships/oleObject" Target="../embeddings/oleObject4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539.xml"/><Relationship Id="rId7" Type="http://schemas.openxmlformats.org/officeDocument/2006/relationships/image" Target="../media/image23.png"/><Relationship Id="rId2" Type="http://schemas.openxmlformats.org/officeDocument/2006/relationships/tags" Target="../tags/tag538.xml"/><Relationship Id="rId1" Type="http://schemas.openxmlformats.org/officeDocument/2006/relationships/tags" Target="../tags/tag537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24.emf"/><Relationship Id="rId4" Type="http://schemas.openxmlformats.org/officeDocument/2006/relationships/tags" Target="../tags/tag540.xml"/><Relationship Id="rId9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7.emf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9.emf"/><Relationship Id="rId7" Type="http://schemas.openxmlformats.org/officeDocument/2006/relationships/hyperlink" Target="https://www.gov.br/receitafederal/pt-br/centrais-de-conteudo/publicacoes/estudos/pessoas-juridicas-por-setor/estudos-setoriais-das-pessoas-juridicas/" TargetMode="External"/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1.png"/><Relationship Id="rId5" Type="http://schemas.openxmlformats.org/officeDocument/2006/relationships/image" Target="../media/image26.png"/><Relationship Id="rId4" Type="http://schemas.openxmlformats.org/officeDocument/2006/relationships/image" Target="../media/image30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542.xml"/><Relationship Id="rId1" Type="http://schemas.openxmlformats.org/officeDocument/2006/relationships/tags" Target="../tags/tag541.xml"/><Relationship Id="rId6" Type="http://schemas.openxmlformats.org/officeDocument/2006/relationships/image" Target="../media/image26.png"/><Relationship Id="rId5" Type="http://schemas.openxmlformats.org/officeDocument/2006/relationships/chart" Target="../charts/chart1.xml"/><Relationship Id="rId4" Type="http://schemas.openxmlformats.org/officeDocument/2006/relationships/notesSlide" Target="../notesSlides/notesSlide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544.xml"/><Relationship Id="rId1" Type="http://schemas.openxmlformats.org/officeDocument/2006/relationships/tags" Target="../tags/tag543.xml"/><Relationship Id="rId6" Type="http://schemas.openxmlformats.org/officeDocument/2006/relationships/image" Target="../media/image26.png"/><Relationship Id="rId5" Type="http://schemas.openxmlformats.org/officeDocument/2006/relationships/chart" Target="../charts/chart2.xml"/><Relationship Id="rId4" Type="http://schemas.openxmlformats.org/officeDocument/2006/relationships/notesSlide" Target="../notesSlides/notesSlide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hyperlink" Target="http://comexstat.mdic.gov.br/pt/geral/90881" TargetMode="External"/><Relationship Id="rId5" Type="http://schemas.openxmlformats.org/officeDocument/2006/relationships/image" Target="../media/image33.png"/><Relationship Id="rId4" Type="http://schemas.openxmlformats.org/officeDocument/2006/relationships/chart" Target="../charts/char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4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6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9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35.xml"/><Relationship Id="rId5" Type="http://schemas.openxmlformats.org/officeDocument/2006/relationships/image" Target="../media/image21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536.xml"/><Relationship Id="rId5" Type="http://schemas.openxmlformats.org/officeDocument/2006/relationships/image" Target="../media/image22.png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FC82A3A-0A2D-4C91-9164-E53833C359F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72" imgH="588" progId="TCLayout.ActiveDocument.1">
                  <p:embed/>
                </p:oleObj>
              </mc:Choice>
              <mc:Fallback>
                <p:oleObj name="think-cell Slide" r:id="rId6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FC82A3A-0A2D-4C91-9164-E53833C359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ustomTitleImage" hidden="1">
            <a:extLst>
              <a:ext uri="{FF2B5EF4-FFF2-40B4-BE49-F238E27FC236}">
                <a16:creationId xmlns:a16="http://schemas.microsoft.com/office/drawing/2014/main" id="{108DE052-9238-470A-B7A3-D8EB461E3CE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6D73DD1-F338-4742-8046-201A98AFCC0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8568" y="4855853"/>
            <a:ext cx="1207887" cy="1022058"/>
          </a:xfrm>
          <a:prstGeom prst="rect">
            <a:avLst/>
          </a:prstGeom>
        </p:spPr>
      </p:pic>
      <p:sp>
        <p:nvSpPr>
          <p:cNvPr id="6" name="Documenttype">
            <a:extLst>
              <a:ext uri="{FF2B5EF4-FFF2-40B4-BE49-F238E27FC236}">
                <a16:creationId xmlns:a16="http://schemas.microsoft.com/office/drawing/2014/main" id="{D198E685-D26E-EA21-F8FF-1BE568530E7D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558568" y="2363014"/>
            <a:ext cx="7715821" cy="214187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158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466344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13816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161288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91440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pt-BR" sz="2800" b="1" kern="0" dirty="0">
                <a:latin typeface="Georgia" panose="02040502050405020303" pitchFamily="18" charset="0"/>
                <a:ea typeface="Calibri" panose="020F0502020204030204" pitchFamily="34" charset="0"/>
              </a:rPr>
              <a:t>Audiência Pública</a:t>
            </a:r>
          </a:p>
          <a:p>
            <a:r>
              <a:rPr lang="pt-BR" sz="2800" b="1" i="0" dirty="0">
                <a:effectLst/>
                <a:latin typeface="Georgia" panose="02040502050405020303" pitchFamily="18" charset="0"/>
              </a:rPr>
              <a:t>Comissão de Finanças e Tributação</a:t>
            </a:r>
          </a:p>
          <a:p>
            <a:r>
              <a:rPr lang="pt-BR" sz="2400" b="1" i="0" dirty="0">
                <a:effectLst/>
                <a:latin typeface="Georgia" panose="02040502050405020303" pitchFamily="18" charset="0"/>
              </a:rPr>
              <a:t> </a:t>
            </a:r>
          </a:p>
          <a:p>
            <a:r>
              <a:rPr lang="pt-BR" sz="2400" b="0" i="0" dirty="0">
                <a:effectLst/>
              </a:rPr>
              <a:t>Projeto de Lei nº 2.339, de 2022, e apensados  04/10/2023</a:t>
            </a:r>
            <a:endParaRPr lang="pt-BR" sz="1800" dirty="0"/>
          </a:p>
        </p:txBody>
      </p:sp>
    </p:spTree>
    <p:extLst>
      <p:ext uri="{BB962C8B-B14F-4D97-AF65-F5344CB8AC3E}">
        <p14:creationId xmlns:p14="http://schemas.microsoft.com/office/powerpoint/2010/main" val="23694989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9" name="Google Shape;1199;p14"/>
          <p:cNvPicPr preferRelativeResize="0"/>
          <p:nvPr/>
        </p:nvPicPr>
        <p:blipFill rotWithShape="1">
          <a:blip r:embed="rId7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-16159" y="-36166"/>
            <a:ext cx="12208159" cy="6894165"/>
          </a:xfrm>
          <a:prstGeom prst="rect">
            <a:avLst/>
          </a:prstGeom>
          <a:noFill/>
          <a:ln>
            <a:noFill/>
            <a:prstDash val="dash"/>
          </a:ln>
        </p:spPr>
      </p:pic>
      <p:sp>
        <p:nvSpPr>
          <p:cNvPr id="28" name="Retângulo 27">
            <a:extLst>
              <a:ext uri="{FF2B5EF4-FFF2-40B4-BE49-F238E27FC236}">
                <a16:creationId xmlns:a16="http://schemas.microsoft.com/office/drawing/2014/main" id="{CBE46B66-8BA6-B948-8DF5-1222752A917A}"/>
              </a:ext>
            </a:extLst>
          </p:cNvPr>
          <p:cNvSpPr/>
          <p:nvPr/>
        </p:nvSpPr>
        <p:spPr>
          <a:xfrm>
            <a:off x="9227349" y="-36165"/>
            <a:ext cx="2998107" cy="6894165"/>
          </a:xfrm>
          <a:prstGeom prst="rect">
            <a:avLst/>
          </a:prstGeom>
          <a:solidFill>
            <a:srgbClr val="051C2C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pt-BR" sz="1400" b="0" i="0" u="none" strike="noStrike" kern="0" cap="none" spc="0" normalizeH="0" baseline="0" noProof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2" name="Google Shape;1202;p14" descr="Logotipo, nome da empresa&#10;&#10;Descrição gerada automaticamente">
            <a:extLst>
              <a:ext uri="{FF2B5EF4-FFF2-40B4-BE49-F238E27FC236}">
                <a16:creationId xmlns:a16="http://schemas.microsoft.com/office/drawing/2014/main" id="{1CE1BE2E-0A1C-505C-D8EC-20C36A06FD9E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0658763" y="123275"/>
            <a:ext cx="1328271" cy="1290311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Google Shape;905;p4">
            <a:extLst>
              <a:ext uri="{FF2B5EF4-FFF2-40B4-BE49-F238E27FC236}">
                <a16:creationId xmlns:a16="http://schemas.microsoft.com/office/drawing/2014/main" id="{1D16C29D-D3D8-75C2-1390-299016F6A9D9}"/>
              </a:ext>
            </a:extLst>
          </p:cNvPr>
          <p:cNvSpPr/>
          <p:nvPr/>
        </p:nvSpPr>
        <p:spPr>
          <a:xfrm>
            <a:off x="11588496" y="6467431"/>
            <a:ext cx="307094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10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5. Source">
            <a:extLst>
              <a:ext uri="{FF2B5EF4-FFF2-40B4-BE49-F238E27FC236}">
                <a16:creationId xmlns:a16="http://schemas.microsoft.com/office/drawing/2014/main" id="{AC9557C5-E797-568A-60AF-4C48DE4FCEAD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499516" y="6287520"/>
            <a:ext cx="6233022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Fonte: Balança Comercial de Bens: conciliação entre estatísticas de comércio exterior e de balanço de pagamentos, extração em 01.08.2023. Bacen. Elaboração IDV. </a:t>
            </a:r>
          </a:p>
        </p:txBody>
      </p:sp>
      <p:sp>
        <p:nvSpPr>
          <p:cNvPr id="11" name="5. Source">
            <a:extLst>
              <a:ext uri="{FF2B5EF4-FFF2-40B4-BE49-F238E27FC236}">
                <a16:creationId xmlns:a16="http://schemas.microsoft.com/office/drawing/2014/main" id="{6F31389C-00F7-9C9C-5D09-11984D1A9B9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99516" y="5072956"/>
            <a:ext cx="8517344" cy="35394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(*) </a:t>
            </a: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ICMS – 17% admitiu-se como média da alíquota aplicada para o período de 2018 a 2022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  </a:t>
            </a:r>
          </a:p>
        </p:txBody>
      </p:sp>
      <p:sp>
        <p:nvSpPr>
          <p:cNvPr id="13" name="5. Source">
            <a:extLst>
              <a:ext uri="{FF2B5EF4-FFF2-40B4-BE49-F238E27FC236}">
                <a16:creationId xmlns:a16="http://schemas.microsoft.com/office/drawing/2014/main" id="{6F7922C4-F84B-7025-FFC6-25210E3FD2A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99516" y="1608072"/>
            <a:ext cx="7507506" cy="2769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Aplicação do IOF no valor da mercadoria líquido de impostos</a:t>
            </a:r>
            <a:r>
              <a:rPr kumimoji="0" lang="pt-BR" sz="900" b="0" u="none" strike="noStrike" kern="120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. </a:t>
            </a: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id="{7D7C0571-DA1F-82C0-B562-9323AAC746CF}"/>
              </a:ext>
            </a:extLst>
          </p:cNvPr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83874" y="160669"/>
            <a:ext cx="7122223" cy="73152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b" anchorCtr="0">
            <a:normAutofit fontScale="97500"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Georgia"/>
              <a:buNone/>
              <a:defRPr sz="4400" b="1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400"/>
              <a:buFont typeface="Georgia"/>
              <a:buNone/>
              <a:tabLst/>
              <a:defRPr/>
            </a:pPr>
            <a:r>
              <a:rPr kumimoji="0" lang="pt-BR" sz="2400" b="1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Georgia"/>
                <a:sym typeface="Georgia"/>
              </a:rPr>
              <a:t>Estimativa de Potencial de Arrecadação Anual  de cerca de </a:t>
            </a:r>
            <a:r>
              <a:rPr lang="pt-BR" sz="2400" kern="0" dirty="0">
                <a:solidFill>
                  <a:schemeClr val="accent3">
                    <a:lumMod val="50000"/>
                  </a:schemeClr>
                </a:solidFill>
              </a:rPr>
              <a:t>136,2 bilhões </a:t>
            </a:r>
            <a:r>
              <a:rPr kumimoji="0" lang="pt-BR" sz="2400" b="1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Georgia"/>
                <a:sym typeface="Georgia"/>
              </a:rPr>
              <a:t>de 2018 a 2022 </a:t>
            </a:r>
            <a:r>
              <a:rPr kumimoji="0" lang="pt-BR" sz="2400" b="1" i="1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Georgia"/>
                <a:sym typeface="Georgia"/>
              </a:rPr>
              <a:t> </a:t>
            </a:r>
            <a:endParaRPr kumimoji="0" lang="pt-BR" sz="2400" b="1" i="0" u="none" strike="noStrike" kern="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/>
              <a:sym typeface="Georgia"/>
            </a:endParaRPr>
          </a:p>
        </p:txBody>
      </p:sp>
      <p:sp>
        <p:nvSpPr>
          <p:cNvPr id="15" name="Google Shape;1050;p8">
            <a:extLst>
              <a:ext uri="{FF2B5EF4-FFF2-40B4-BE49-F238E27FC236}">
                <a16:creationId xmlns:a16="http://schemas.microsoft.com/office/drawing/2014/main" id="{E9407019-C3BE-1E28-3D74-EB85E661BA19}"/>
              </a:ext>
            </a:extLst>
          </p:cNvPr>
          <p:cNvSpPr txBox="1"/>
          <p:nvPr/>
        </p:nvSpPr>
        <p:spPr>
          <a:xfrm>
            <a:off x="9471576" y="3753862"/>
            <a:ext cx="2576339" cy="19389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Noto Sans Symbols"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R$ </a:t>
            </a:r>
            <a:r>
              <a:rPr lang="pt-BR" sz="3600" b="1" kern="0" dirty="0">
                <a:solidFill>
                  <a:srgbClr val="FF0000"/>
                </a:solidFill>
                <a:latin typeface="Georgia"/>
                <a:ea typeface="Georgia"/>
                <a:cs typeface="Georgia"/>
                <a:sym typeface="Georgia"/>
              </a:rPr>
              <a:t>45,6</a:t>
            </a:r>
            <a:r>
              <a:rPr kumimoji="0" lang="pt-BR" sz="3600" b="1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 bi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Noto Sans Symbols"/>
              <a:buNone/>
              <a:tabLst/>
              <a:defRPr/>
            </a:pP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é o que se deixou de arrecadar</a:t>
            </a: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desde 2018, considerando somente o ICMS</a:t>
            </a: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 </a:t>
            </a: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sob compras </a:t>
            </a:r>
            <a:r>
              <a:rPr kumimoji="0" lang="pt-BR" sz="18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cross</a:t>
            </a:r>
            <a:r>
              <a:rPr kumimoji="0" lang="pt-BR" sz="1800" b="0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-</a:t>
            </a:r>
            <a:r>
              <a:rPr kumimoji="0" lang="pt-BR" sz="1800" b="0" i="1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border</a:t>
            </a:r>
            <a:r>
              <a:rPr kumimoji="0" lang="pt-BR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, </a:t>
            </a:r>
            <a:endParaRPr kumimoji="0" sz="1800" b="1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6" name="Google Shape;1050;p8">
            <a:extLst>
              <a:ext uri="{FF2B5EF4-FFF2-40B4-BE49-F238E27FC236}">
                <a16:creationId xmlns:a16="http://schemas.microsoft.com/office/drawing/2014/main" id="{AE8C7932-53D3-D7C0-E3D1-55395B20D6D0}"/>
              </a:ext>
            </a:extLst>
          </p:cNvPr>
          <p:cNvSpPr txBox="1"/>
          <p:nvPr/>
        </p:nvSpPr>
        <p:spPr>
          <a:xfrm>
            <a:off x="9466920" y="1673648"/>
            <a:ext cx="2649838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4800"/>
              <a:buFont typeface="Noto Sans Symbols"/>
              <a:buNone/>
              <a:tabLst/>
              <a:defRPr/>
            </a:pPr>
            <a:r>
              <a:rPr kumimoji="0" lang="pt-BR" sz="2000" b="1" i="0" u="none" strike="noStrike" kern="0" cap="none" spc="0" normalizeH="0" baseline="0" noProof="0" dirty="0">
                <a:ln>
                  <a:noFill/>
                </a:ln>
                <a:solidFill>
                  <a:srgbClr val="051C2C">
                    <a:lumMod val="50000"/>
                    <a:lumOff val="50000"/>
                  </a:srgbClr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R$ </a:t>
            </a:r>
            <a:r>
              <a:rPr kumimoji="0" lang="pt-BR" sz="3600" b="1" i="0" u="none" strike="noStrike" kern="0" cap="none" spc="0" normalizeH="0" baseline="0" noProof="0" dirty="0">
                <a:ln>
                  <a:noFill/>
                </a:ln>
                <a:solidFill>
                  <a:srgbClr val="051C2C">
                    <a:lumMod val="50000"/>
                    <a:lumOff val="50000"/>
                  </a:srgbClr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83,6 bi</a:t>
            </a:r>
            <a:endParaRPr kumimoji="0" sz="1200" b="0" i="0" u="none" strike="noStrike" kern="0" cap="none" spc="0" normalizeH="0" baseline="0" noProof="0" dirty="0">
              <a:ln>
                <a:noFill/>
              </a:ln>
              <a:solidFill>
                <a:srgbClr val="051C2C">
                  <a:lumMod val="50000"/>
                  <a:lumOff val="5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Noto Sans Symbols"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é o que se deixou de arrecadar desde 2018 de Imposto de importação (II)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7" name="Imagem 16">
            <a:extLst>
              <a:ext uri="{FF2B5EF4-FFF2-40B4-BE49-F238E27FC236}">
                <a16:creationId xmlns:a16="http://schemas.microsoft.com/office/drawing/2014/main" id="{206AC091-C181-2F82-ECCB-6BC1632CE33A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r="15723"/>
          <a:stretch/>
        </p:blipFill>
        <p:spPr>
          <a:xfrm>
            <a:off x="499516" y="2276329"/>
            <a:ext cx="6969779" cy="2686116"/>
          </a:xfrm>
          <a:prstGeom prst="rect">
            <a:avLst/>
          </a:prstGeom>
        </p:spPr>
      </p:pic>
      <p:pic>
        <p:nvPicPr>
          <p:cNvPr id="18" name="Imagem 17">
            <a:extLst>
              <a:ext uri="{FF2B5EF4-FFF2-40B4-BE49-F238E27FC236}">
                <a16:creationId xmlns:a16="http://schemas.microsoft.com/office/drawing/2014/main" id="{6C2B45F4-460A-640D-1658-8C6671EF109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87202"/>
          <a:stretch/>
        </p:blipFill>
        <p:spPr>
          <a:xfrm>
            <a:off x="7584638" y="2276329"/>
            <a:ext cx="1058411" cy="2686116"/>
          </a:xfrm>
          <a:prstGeom prst="rect">
            <a:avLst/>
          </a:prstGeom>
        </p:spPr>
      </p:pic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3B364BD5-572C-F743-2379-E02F551AE527}"/>
              </a:ext>
            </a:extLst>
          </p:cNvPr>
          <p:cNvCxnSpPr>
            <a:cxnSpLocks/>
          </p:cNvCxnSpPr>
          <p:nvPr/>
        </p:nvCxnSpPr>
        <p:spPr>
          <a:xfrm>
            <a:off x="475500" y="6121635"/>
            <a:ext cx="8334091" cy="13876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to 22">
            <a:extLst>
              <a:ext uri="{FF2B5EF4-FFF2-40B4-BE49-F238E27FC236}">
                <a16:creationId xmlns:a16="http://schemas.microsoft.com/office/drawing/2014/main" id="{F8310D7C-9AC7-415E-4AAB-4ED78E098AD9}"/>
              </a:ext>
            </a:extLst>
          </p:cNvPr>
          <p:cNvCxnSpPr>
            <a:cxnSpLocks/>
          </p:cNvCxnSpPr>
          <p:nvPr/>
        </p:nvCxnSpPr>
        <p:spPr>
          <a:xfrm>
            <a:off x="383874" y="1080880"/>
            <a:ext cx="8334091" cy="13876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587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14:pan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9" name="Google Shape;1199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220815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00" name="Google Shape;1200;p14"/>
          <p:cNvSpPr txBox="1">
            <a:spLocks noGrp="1"/>
          </p:cNvSpPr>
          <p:nvPr>
            <p:ph type="title"/>
          </p:nvPr>
        </p:nvSpPr>
        <p:spPr>
          <a:xfrm>
            <a:off x="1534834" y="2313214"/>
            <a:ext cx="9297821" cy="2231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Georgia"/>
              <a:buNone/>
            </a:pPr>
            <a:r>
              <a:rPr lang="pt-BR" sz="4000" dirty="0"/>
              <a:t>Estudo sobre a </a:t>
            </a:r>
            <a:r>
              <a:rPr lang="pt-BR" sz="4000" u="sng" dirty="0"/>
              <a:t>carga tributária residual </a:t>
            </a:r>
            <a:r>
              <a:rPr lang="pt-BR" sz="4000" dirty="0"/>
              <a:t>brasileira na cadeira produtiva – IBPT </a:t>
            </a:r>
            <a:br>
              <a:rPr lang="pt-BR" sz="4000" dirty="0"/>
            </a:br>
            <a:endParaRPr sz="2800" dirty="0"/>
          </a:p>
        </p:txBody>
      </p:sp>
      <p:pic>
        <p:nvPicPr>
          <p:cNvPr id="1202" name="Google Shape;1202;p14" descr="Logotipo, nome da empresa&#10;&#10;Descrição gerada automaticamente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05284" y="83807"/>
            <a:ext cx="1622908" cy="169529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905;p4">
            <a:extLst>
              <a:ext uri="{FF2B5EF4-FFF2-40B4-BE49-F238E27FC236}">
                <a16:creationId xmlns:a16="http://schemas.microsoft.com/office/drawing/2014/main" id="{29D9210A-A78D-03CC-E9F3-4CCB4F1AD85C}"/>
              </a:ext>
            </a:extLst>
          </p:cNvPr>
          <p:cNvSpPr/>
          <p:nvPr/>
        </p:nvSpPr>
        <p:spPr>
          <a:xfrm>
            <a:off x="11588496" y="6467431"/>
            <a:ext cx="307094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11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50462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Imagem 21" descr="Uma imagem contendo mesa, computador, computer, homem&#10;&#10;Descrição gerada automaticamente">
            <a:extLst>
              <a:ext uri="{FF2B5EF4-FFF2-40B4-BE49-F238E27FC236}">
                <a16:creationId xmlns:a16="http://schemas.microsoft.com/office/drawing/2014/main" id="{1990FD18-14D2-F564-0579-665DA608BE8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4653"/>
            <a:ext cx="12192000" cy="68486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aixaDeTexto 7">
            <a:extLst>
              <a:ext uri="{FF2B5EF4-FFF2-40B4-BE49-F238E27FC236}">
                <a16:creationId xmlns:a16="http://schemas.microsoft.com/office/drawing/2014/main" id="{C0A5B02B-656F-CCC4-C168-6F000BF8D65D}"/>
              </a:ext>
            </a:extLst>
          </p:cNvPr>
          <p:cNvSpPr txBox="1"/>
          <p:nvPr/>
        </p:nvSpPr>
        <p:spPr>
          <a:xfrm>
            <a:off x="2073788" y="6402042"/>
            <a:ext cx="6952603" cy="29001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46639">
              <a:defRPr/>
            </a:pPr>
            <a:r>
              <a:rPr lang="pt-BR" sz="1303" dirty="0">
                <a:solidFill>
                  <a:prstClr val="white"/>
                </a:solidFill>
                <a:latin typeface="Poppins" pitchFamily="2" charset="77"/>
                <a:cs typeface="Poppins" pitchFamily="2" charset="77"/>
              </a:rPr>
              <a:t>IDV - Estudo sobre Carga Tributária na Cadeia de Valor – Varejo / 2023 por IBPT</a:t>
            </a:r>
          </a:p>
        </p:txBody>
      </p:sp>
      <p:cxnSp>
        <p:nvCxnSpPr>
          <p:cNvPr id="9" name="Conector Reto 8">
            <a:extLst>
              <a:ext uri="{FF2B5EF4-FFF2-40B4-BE49-F238E27FC236}">
                <a16:creationId xmlns:a16="http://schemas.microsoft.com/office/drawing/2014/main" id="{BFADE04B-A2FF-430E-9994-53B6BCF8F468}"/>
              </a:ext>
            </a:extLst>
          </p:cNvPr>
          <p:cNvCxnSpPr>
            <a:cxnSpLocks/>
          </p:cNvCxnSpPr>
          <p:nvPr/>
        </p:nvCxnSpPr>
        <p:spPr>
          <a:xfrm>
            <a:off x="1896987" y="6358616"/>
            <a:ext cx="693554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533" name="TextBox 4">
            <a:extLst>
              <a:ext uri="{FF2B5EF4-FFF2-40B4-BE49-F238E27FC236}">
                <a16:creationId xmlns:a16="http://schemas.microsoft.com/office/drawing/2014/main" id="{31D9E79C-7C33-9416-DA3E-040168AA421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8366" y="1870364"/>
            <a:ext cx="5421883" cy="3064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46639" eaLnBrk="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pt-BR" sz="3908" dirty="0">
                <a:solidFill>
                  <a:prstClr val="white"/>
                </a:solidFill>
                <a:latin typeface="Montserrat Light" panose="00000400000000000000" pitchFamily="2" charset="0"/>
              </a:rPr>
              <a:t>CARGA TRIBUTÁRIA DA CADEIA DE VALOR</a:t>
            </a:r>
          </a:p>
          <a:p>
            <a:pPr defTabSz="446639" eaLnBrk="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altLang="pt-BR" sz="3908" dirty="0">
              <a:solidFill>
                <a:prstClr val="white"/>
              </a:solidFill>
              <a:latin typeface="Montserrat Light" panose="00000400000000000000" pitchFamily="2" charset="0"/>
            </a:endParaRPr>
          </a:p>
          <a:p>
            <a:pPr defTabSz="446639" eaLnBrk="0" fontAlgn="base" hangingPunct="0">
              <a:lnSpc>
                <a:spcPct val="7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pt-BR" sz="5861" dirty="0">
                <a:solidFill>
                  <a:prstClr val="white"/>
                </a:solidFill>
                <a:latin typeface="Montserrat ExtraBold" panose="00000900000000000000" pitchFamily="2" charset="0"/>
              </a:rPr>
              <a:t>COMÉRCIO VAREJISTA</a:t>
            </a:r>
          </a:p>
        </p:txBody>
      </p:sp>
      <p:pic>
        <p:nvPicPr>
          <p:cNvPr id="22534" name="Imagem 22" descr="Logotipo, nome da empresa&#10;&#10;Descrição gerada automaticamente">
            <a:extLst>
              <a:ext uri="{FF2B5EF4-FFF2-40B4-BE49-F238E27FC236}">
                <a16:creationId xmlns:a16="http://schemas.microsoft.com/office/drawing/2014/main" id="{484CEAC6-EC69-033A-8893-68BFB3104C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95" y="305525"/>
            <a:ext cx="1304292" cy="1149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Google Shape;905;p4">
            <a:extLst>
              <a:ext uri="{FF2B5EF4-FFF2-40B4-BE49-F238E27FC236}">
                <a16:creationId xmlns:a16="http://schemas.microsoft.com/office/drawing/2014/main" id="{1B73AEDE-84B6-6E76-CD32-E565E74E0EA7}"/>
              </a:ext>
            </a:extLst>
          </p:cNvPr>
          <p:cNvSpPr/>
          <p:nvPr/>
        </p:nvSpPr>
        <p:spPr>
          <a:xfrm>
            <a:off x="11588496" y="6467431"/>
            <a:ext cx="307094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12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>
            <a:extLst>
              <a:ext uri="{FF2B5EF4-FFF2-40B4-BE49-F238E27FC236}">
                <a16:creationId xmlns:a16="http://schemas.microsoft.com/office/drawing/2014/main" id="{61B86010-AE6B-00D7-D862-3455FBCB5FE8}"/>
              </a:ext>
            </a:extLst>
          </p:cNvPr>
          <p:cNvSpPr/>
          <p:nvPr/>
        </p:nvSpPr>
        <p:spPr>
          <a:xfrm>
            <a:off x="139838" y="1"/>
            <a:ext cx="2952879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758"/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061FC8D0-519C-E5C6-80EB-58930FE9FCF8}"/>
              </a:ext>
            </a:extLst>
          </p:cNvPr>
          <p:cNvSpPr/>
          <p:nvPr/>
        </p:nvSpPr>
        <p:spPr>
          <a:xfrm>
            <a:off x="3092718" y="1"/>
            <a:ext cx="9089298" cy="6858000"/>
          </a:xfrm>
          <a:prstGeom prst="rect">
            <a:avLst/>
          </a:prstGeom>
          <a:solidFill>
            <a:srgbClr val="0562AF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758" dirty="0"/>
          </a:p>
        </p:txBody>
      </p:sp>
      <p:sp>
        <p:nvSpPr>
          <p:cNvPr id="13316" name="TextBox 12">
            <a:extLst>
              <a:ext uri="{FF2B5EF4-FFF2-40B4-BE49-F238E27FC236}">
                <a16:creationId xmlns:a16="http://schemas.microsoft.com/office/drawing/2014/main" id="{38961A39-31DC-A6A6-33CF-41EBC52B51A7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8258705" y="3053687"/>
            <a:ext cx="6858000" cy="750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pt-BR" sz="4298" b="1" dirty="0">
                <a:latin typeface="Poppins" panose="00000500000000000000" pitchFamily="2" charset="0"/>
                <a:ea typeface="Noto Serif" panose="02020600060500020200" pitchFamily="18" charset="0"/>
                <a:cs typeface="Poppins" panose="00000500000000000000" pitchFamily="2" charset="0"/>
              </a:rPr>
              <a:t>PREMISSAS DO ESTUDO</a:t>
            </a:r>
            <a:endParaRPr lang="id-ID" altLang="pt-BR" sz="4298" b="1" dirty="0">
              <a:latin typeface="Poppins" panose="00000500000000000000" pitchFamily="2" charset="0"/>
              <a:ea typeface="Noto Serif" panose="02020600060500020200" pitchFamily="18" charset="0"/>
              <a:cs typeface="Poppins" panose="00000500000000000000" pitchFamily="2" charset="0"/>
            </a:endParaRPr>
          </a:p>
        </p:txBody>
      </p:sp>
      <p:sp>
        <p:nvSpPr>
          <p:cNvPr id="49" name="Rectangle 16">
            <a:extLst>
              <a:ext uri="{FF2B5EF4-FFF2-40B4-BE49-F238E27FC236}">
                <a16:creationId xmlns:a16="http://schemas.microsoft.com/office/drawing/2014/main" id="{0E8F6975-7CFA-E720-6E4A-CB633F62E7FE}"/>
              </a:ext>
            </a:extLst>
          </p:cNvPr>
          <p:cNvSpPr/>
          <p:nvPr/>
        </p:nvSpPr>
        <p:spPr>
          <a:xfrm>
            <a:off x="4542792" y="603294"/>
            <a:ext cx="6336904" cy="5831148"/>
          </a:xfrm>
          <a:prstGeom prst="rect">
            <a:avLst/>
          </a:prstGeom>
        </p:spPr>
        <p:txBody>
          <a:bodyPr>
            <a:spAutoFit/>
          </a:bodyPr>
          <a:lstStyle/>
          <a:p>
            <a:pPr marL="595592" lvl="1">
              <a:lnSpc>
                <a:spcPct val="150000"/>
              </a:lnSpc>
              <a:defRPr/>
            </a:pPr>
            <a:r>
              <a:rPr lang="pt-BR" sz="1563" dirty="0">
                <a:latin typeface="Poppins Light" pitchFamily="2" charset="77"/>
                <a:cs typeface="Poppins Light" pitchFamily="2" charset="77"/>
              </a:rPr>
              <a:t>Valores calculados em Reais de Impostos e Contribuições (IPI, ICMS, PIS e COFINS)</a:t>
            </a:r>
          </a:p>
          <a:p>
            <a:pPr lvl="1">
              <a:lnSpc>
                <a:spcPct val="150000"/>
              </a:lnSpc>
              <a:defRPr/>
            </a:pPr>
            <a:endParaRPr lang="pt-BR" sz="1563" dirty="0">
              <a:latin typeface="Poppins Light" pitchFamily="2" charset="77"/>
              <a:cs typeface="Poppins Light" pitchFamily="2" charset="77"/>
            </a:endParaRPr>
          </a:p>
          <a:p>
            <a:pPr marL="595592" lvl="1">
              <a:lnSpc>
                <a:spcPct val="150000"/>
              </a:lnSpc>
              <a:defRPr/>
            </a:pPr>
            <a:r>
              <a:rPr lang="pt-BR" sz="1563" dirty="0">
                <a:latin typeface="Poppins Light" pitchFamily="2" charset="77"/>
                <a:cs typeface="Poppins Light" pitchFamily="2" charset="77"/>
              </a:rPr>
              <a:t>Produtos classificados por Capítulo e Posição </a:t>
            </a:r>
            <a:r>
              <a:rPr lang="pt-BR" sz="1563" dirty="0" err="1">
                <a:latin typeface="Poppins Light" pitchFamily="2" charset="77"/>
                <a:cs typeface="Poppins Light" pitchFamily="2" charset="77"/>
              </a:rPr>
              <a:t>NCM´s</a:t>
            </a:r>
            <a:r>
              <a:rPr lang="pt-BR" sz="1563" dirty="0">
                <a:latin typeface="Poppins Light" pitchFamily="2" charset="77"/>
                <a:cs typeface="Poppins Light" pitchFamily="2" charset="77"/>
              </a:rPr>
              <a:t>: </a:t>
            </a:r>
          </a:p>
          <a:p>
            <a:pPr lvl="1">
              <a:lnSpc>
                <a:spcPct val="150000"/>
              </a:lnSpc>
              <a:defRPr/>
            </a:pPr>
            <a:endParaRPr lang="pt-BR" sz="1563" dirty="0">
              <a:latin typeface="Poppins Light" pitchFamily="2" charset="77"/>
              <a:cs typeface="Poppins Light" pitchFamily="2" charset="77"/>
            </a:endParaRPr>
          </a:p>
          <a:p>
            <a:pPr marL="595592" lvl="1">
              <a:lnSpc>
                <a:spcPct val="150000"/>
              </a:lnSpc>
              <a:defRPr/>
            </a:pPr>
            <a:r>
              <a:rPr lang="pt-BR" sz="1563" dirty="0">
                <a:latin typeface="Poppins Light" pitchFamily="2" charset="77"/>
                <a:cs typeface="Poppins Light" pitchFamily="2" charset="77"/>
              </a:rPr>
              <a:t>Classificação &amp; Normalização de: </a:t>
            </a:r>
          </a:p>
          <a:p>
            <a:pPr marL="1321380" lvl="2" indent="-279149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t-BR" sz="1563" dirty="0">
                <a:latin typeface="Poppins Light" pitchFamily="2" charset="77"/>
                <a:cs typeface="Poppins Light" pitchFamily="2" charset="77"/>
              </a:rPr>
              <a:t>35 capítulos de </a:t>
            </a:r>
            <a:r>
              <a:rPr lang="pt-BR" sz="1563" dirty="0" err="1">
                <a:latin typeface="Poppins Light" pitchFamily="2" charset="77"/>
                <a:cs typeface="Poppins Light" pitchFamily="2" charset="77"/>
              </a:rPr>
              <a:t>NCMs</a:t>
            </a:r>
            <a:r>
              <a:rPr lang="pt-BR" sz="1563" dirty="0">
                <a:latin typeface="Poppins Light" pitchFamily="2" charset="77"/>
                <a:cs typeface="Poppins Light" pitchFamily="2" charset="77"/>
              </a:rPr>
              <a:t> individualizados,                     71 posições, 780 produtos; </a:t>
            </a:r>
          </a:p>
          <a:p>
            <a:pPr marL="1321380" lvl="2" indent="-279149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t-BR" sz="1563" dirty="0">
                <a:latin typeface="Poppins Light" pitchFamily="2" charset="77"/>
                <a:cs typeface="Poppins Light" pitchFamily="2" charset="77"/>
              </a:rPr>
              <a:t>125 mil NF-e com operações de compra e venda;</a:t>
            </a:r>
          </a:p>
          <a:p>
            <a:pPr marL="1321380" lvl="2" indent="-279149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t-BR" sz="1563" dirty="0">
                <a:latin typeface="Poppins" pitchFamily="2" charset="77"/>
                <a:cs typeface="Poppins" pitchFamily="2" charset="77"/>
              </a:rPr>
              <a:t>Canal Emitente </a:t>
            </a:r>
            <a:r>
              <a:rPr lang="pt-BR" sz="1563" dirty="0">
                <a:latin typeface="Poppins Light" pitchFamily="2" charset="77"/>
                <a:cs typeface="Poppins Light" pitchFamily="2" charset="77"/>
              </a:rPr>
              <a:t>em FABRICANTE, DISTRIBUIDOR, VAREJO</a:t>
            </a:r>
          </a:p>
          <a:p>
            <a:pPr marL="1321380" lvl="2" indent="-279149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pt-BR" sz="1563" dirty="0">
                <a:latin typeface="Poppins" pitchFamily="2" charset="77"/>
                <a:cs typeface="Poppins" pitchFamily="2" charset="77"/>
              </a:rPr>
              <a:t>Variáveis em: </a:t>
            </a:r>
            <a:r>
              <a:rPr lang="pt-BR" sz="1563" dirty="0">
                <a:latin typeface="Poppins Light" pitchFamily="2" charset="77"/>
                <a:cs typeface="Poppins Light" pitchFamily="2" charset="77"/>
              </a:rPr>
              <a:t>Família (NCM),  </a:t>
            </a:r>
            <a:r>
              <a:rPr lang="pt-BR" sz="1563" dirty="0" err="1">
                <a:latin typeface="Poppins Light" pitchFamily="2" charset="77"/>
                <a:cs typeface="Poppins Light" pitchFamily="2" charset="77"/>
              </a:rPr>
              <a:t>Descr_Produtos</a:t>
            </a:r>
            <a:r>
              <a:rPr lang="pt-BR" sz="1563" dirty="0">
                <a:latin typeface="Poppins Light" pitchFamily="2" charset="77"/>
                <a:cs typeface="Poppins Light" pitchFamily="2" charset="77"/>
              </a:rPr>
              <a:t>, Carga </a:t>
            </a:r>
            <a:r>
              <a:rPr lang="pt-BR" sz="1563" dirty="0" err="1">
                <a:latin typeface="Poppins Light" pitchFamily="2" charset="77"/>
                <a:cs typeface="Poppins Light" pitchFamily="2" charset="77"/>
              </a:rPr>
              <a:t>Trib_SetorPrimario</a:t>
            </a:r>
            <a:r>
              <a:rPr lang="pt-BR" sz="1563" dirty="0">
                <a:latin typeface="Poppins Light" pitchFamily="2" charset="77"/>
                <a:cs typeface="Poppins Light" pitchFamily="2" charset="77"/>
              </a:rPr>
              <a:t>, Carga </a:t>
            </a:r>
            <a:r>
              <a:rPr lang="pt-BR" sz="1563" dirty="0" err="1">
                <a:latin typeface="Poppins Light" pitchFamily="2" charset="77"/>
                <a:cs typeface="Poppins Light" pitchFamily="2" charset="77"/>
              </a:rPr>
              <a:t>Trib_Import</a:t>
            </a:r>
            <a:r>
              <a:rPr lang="pt-BR" sz="1563" dirty="0">
                <a:latin typeface="Poppins Light" pitchFamily="2" charset="77"/>
                <a:cs typeface="Poppins Light" pitchFamily="2" charset="77"/>
              </a:rPr>
              <a:t>, Carga </a:t>
            </a:r>
            <a:r>
              <a:rPr lang="pt-BR" sz="1563" dirty="0" err="1">
                <a:latin typeface="Poppins Light" pitchFamily="2" charset="77"/>
                <a:cs typeface="Poppins Light" pitchFamily="2" charset="77"/>
              </a:rPr>
              <a:t>Trib_Atac</a:t>
            </a:r>
            <a:r>
              <a:rPr lang="pt-BR" sz="1563" dirty="0">
                <a:latin typeface="Poppins Light" pitchFamily="2" charset="77"/>
                <a:cs typeface="Poppins Light" pitchFamily="2" charset="77"/>
              </a:rPr>
              <a:t>, Carga </a:t>
            </a:r>
            <a:r>
              <a:rPr lang="pt-BR" sz="1563" dirty="0" err="1">
                <a:latin typeface="Poppins Light" pitchFamily="2" charset="77"/>
                <a:cs typeface="Poppins Light" pitchFamily="2" charset="77"/>
              </a:rPr>
              <a:t>Trib_Varejo</a:t>
            </a:r>
            <a:r>
              <a:rPr lang="pt-BR" sz="1563" dirty="0">
                <a:latin typeface="Poppins Light" pitchFamily="2" charset="77"/>
                <a:cs typeface="Poppins Light" pitchFamily="2" charset="77"/>
              </a:rPr>
              <a:t> e, Carga </a:t>
            </a:r>
            <a:r>
              <a:rPr lang="pt-BR" sz="1563" dirty="0" err="1">
                <a:latin typeface="Poppins Light" pitchFamily="2" charset="77"/>
                <a:cs typeface="Poppins Light" pitchFamily="2" charset="77"/>
              </a:rPr>
              <a:t>Trib_Cadeia</a:t>
            </a:r>
            <a:r>
              <a:rPr lang="pt-BR" sz="1563" dirty="0">
                <a:latin typeface="Poppins Light" pitchFamily="2" charset="77"/>
                <a:cs typeface="Poppins Light" pitchFamily="2" charset="77"/>
              </a:rPr>
              <a:t>.</a:t>
            </a:r>
          </a:p>
        </p:txBody>
      </p:sp>
      <p:sp>
        <p:nvSpPr>
          <p:cNvPr id="55" name="CaixaDeTexto 54">
            <a:extLst>
              <a:ext uri="{FF2B5EF4-FFF2-40B4-BE49-F238E27FC236}">
                <a16:creationId xmlns:a16="http://schemas.microsoft.com/office/drawing/2014/main" id="{CCE0547C-FEA5-D10C-C517-B9E6A5D2E485}"/>
              </a:ext>
            </a:extLst>
          </p:cNvPr>
          <p:cNvSpPr txBox="1"/>
          <p:nvPr/>
        </p:nvSpPr>
        <p:spPr>
          <a:xfrm>
            <a:off x="3525414" y="6402042"/>
            <a:ext cx="6920035" cy="29001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pt-BR" sz="1303" dirty="0">
                <a:latin typeface="Poppins" pitchFamily="2" charset="77"/>
                <a:cs typeface="Poppins" pitchFamily="2" charset="77"/>
              </a:rPr>
              <a:t>IDV - Estudo sobre Carga Tributária na Cadeia de Valor – Varejo / 2023 por IBPT</a:t>
            </a:r>
          </a:p>
        </p:txBody>
      </p:sp>
      <p:cxnSp>
        <p:nvCxnSpPr>
          <p:cNvPr id="60" name="Conector Reto 59">
            <a:extLst>
              <a:ext uri="{FF2B5EF4-FFF2-40B4-BE49-F238E27FC236}">
                <a16:creationId xmlns:a16="http://schemas.microsoft.com/office/drawing/2014/main" id="{9E4A2834-FCC2-3AB0-9DC3-0A2DAA6EBC77}"/>
              </a:ext>
            </a:extLst>
          </p:cNvPr>
          <p:cNvCxnSpPr>
            <a:cxnSpLocks/>
          </p:cNvCxnSpPr>
          <p:nvPr/>
        </p:nvCxnSpPr>
        <p:spPr>
          <a:xfrm>
            <a:off x="3525414" y="6358616"/>
            <a:ext cx="662381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321" name="Imagem 2">
            <a:extLst>
              <a:ext uri="{FF2B5EF4-FFF2-40B4-BE49-F238E27FC236}">
                <a16:creationId xmlns:a16="http://schemas.microsoft.com/office/drawing/2014/main" id="{A99C9D61-1F96-B885-637B-70FE324047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495" y="1688912"/>
            <a:ext cx="4514617" cy="45037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tângulo 12">
            <a:extLst>
              <a:ext uri="{FF2B5EF4-FFF2-40B4-BE49-F238E27FC236}">
                <a16:creationId xmlns:a16="http://schemas.microsoft.com/office/drawing/2014/main" id="{1403AFAC-0F3D-0C73-1015-31301DD566AE}"/>
              </a:ext>
            </a:extLst>
          </p:cNvPr>
          <p:cNvSpPr/>
          <p:nvPr/>
        </p:nvSpPr>
        <p:spPr>
          <a:xfrm>
            <a:off x="139838" y="6488891"/>
            <a:ext cx="370661" cy="3939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150000"/>
              </a:lnSpc>
              <a:defRPr/>
            </a:pPr>
            <a:r>
              <a:rPr lang="pt-BR" sz="879" b="1" dirty="0">
                <a:solidFill>
                  <a:schemeClr val="bg1">
                    <a:lumMod val="50000"/>
                  </a:schemeClr>
                </a:solidFill>
                <a:latin typeface="Poppins Light" pitchFamily="2" charset="77"/>
                <a:ea typeface="Open Sans" panose="020B0606030504020204" pitchFamily="34" charset="0"/>
                <a:cs typeface="Poppins Light" pitchFamily="2" charset="77"/>
              </a:rPr>
              <a:t>5</a:t>
            </a:r>
          </a:p>
        </p:txBody>
      </p:sp>
      <p:pic>
        <p:nvPicPr>
          <p:cNvPr id="3" name="Imagem 11" descr="Logotipo, nome da empresa&#10;&#10;Descrição gerada automaticamente">
            <a:extLst>
              <a:ext uri="{FF2B5EF4-FFF2-40B4-BE49-F238E27FC236}">
                <a16:creationId xmlns:a16="http://schemas.microsoft.com/office/drawing/2014/main" id="{DAE3CC5D-F5C8-4E34-1853-4C89AAA060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550" y="312738"/>
            <a:ext cx="1335088" cy="1176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Google Shape;905;p4">
            <a:extLst>
              <a:ext uri="{FF2B5EF4-FFF2-40B4-BE49-F238E27FC236}">
                <a16:creationId xmlns:a16="http://schemas.microsoft.com/office/drawing/2014/main" id="{390F200A-28F4-E272-5D2E-C7CE65719B02}"/>
              </a:ext>
            </a:extLst>
          </p:cNvPr>
          <p:cNvSpPr/>
          <p:nvPr/>
        </p:nvSpPr>
        <p:spPr>
          <a:xfrm>
            <a:off x="11588496" y="6626822"/>
            <a:ext cx="307094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13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>
            <a:extLst>
              <a:ext uri="{FF2B5EF4-FFF2-40B4-BE49-F238E27FC236}">
                <a16:creationId xmlns:a16="http://schemas.microsoft.com/office/drawing/2014/main" id="{87420D4E-A2E5-C243-2FC5-D33F905FCC98}"/>
              </a:ext>
            </a:extLst>
          </p:cNvPr>
          <p:cNvSpPr/>
          <p:nvPr/>
        </p:nvSpPr>
        <p:spPr>
          <a:xfrm>
            <a:off x="139838" y="1"/>
            <a:ext cx="2952879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758"/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2F1DB43A-B1CA-A602-9E71-AECB080A934C}"/>
              </a:ext>
            </a:extLst>
          </p:cNvPr>
          <p:cNvSpPr/>
          <p:nvPr/>
        </p:nvSpPr>
        <p:spPr>
          <a:xfrm>
            <a:off x="3154752" y="1"/>
            <a:ext cx="8909817" cy="6858000"/>
          </a:xfrm>
          <a:prstGeom prst="rect">
            <a:avLst/>
          </a:prstGeom>
          <a:solidFill>
            <a:srgbClr val="0562AF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758" dirty="0"/>
          </a:p>
        </p:txBody>
      </p:sp>
      <p:sp>
        <p:nvSpPr>
          <p:cNvPr id="26" name="Retângulo 25">
            <a:extLst>
              <a:ext uri="{FF2B5EF4-FFF2-40B4-BE49-F238E27FC236}">
                <a16:creationId xmlns:a16="http://schemas.microsoft.com/office/drawing/2014/main" id="{DEA35116-1624-BFB2-BACC-E3570C5AB0C2}"/>
              </a:ext>
            </a:extLst>
          </p:cNvPr>
          <p:cNvSpPr/>
          <p:nvPr/>
        </p:nvSpPr>
        <p:spPr>
          <a:xfrm>
            <a:off x="139838" y="1"/>
            <a:ext cx="2952879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663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pt-BR" sz="1758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1269" name="TextBox 12">
            <a:extLst>
              <a:ext uri="{FF2B5EF4-FFF2-40B4-BE49-F238E27FC236}">
                <a16:creationId xmlns:a16="http://schemas.microsoft.com/office/drawing/2014/main" id="{1F24A3FB-E654-0BC4-D667-06579085C8E3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8126186" y="2951948"/>
            <a:ext cx="685800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defTabSz="446639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pt-BR" b="1" dirty="0">
                <a:latin typeface="Poppins" panose="00000500000000000000" pitchFamily="2" charset="0"/>
                <a:ea typeface="Noto Serif" panose="02020600060500020200" pitchFamily="18" charset="0"/>
                <a:cs typeface="Poppins" panose="00000500000000000000" pitchFamily="2" charset="0"/>
              </a:rPr>
              <a:t>BASES DE DADOS</a:t>
            </a:r>
          </a:p>
          <a:p>
            <a:pPr algn="ctr" defTabSz="446639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US" altLang="pt-BR" b="1" dirty="0">
                <a:latin typeface="Poppins" panose="00000500000000000000" pitchFamily="2" charset="0"/>
                <a:ea typeface="Noto Serif" panose="02020600060500020200" pitchFamily="18" charset="0"/>
                <a:cs typeface="Poppins" panose="00000500000000000000" pitchFamily="2" charset="0"/>
              </a:rPr>
              <a:t> UTILIZADAS NO ESTUDO</a:t>
            </a:r>
            <a:endParaRPr lang="id-ID" altLang="pt-BR" b="1" dirty="0">
              <a:latin typeface="Poppins" panose="00000500000000000000" pitchFamily="2" charset="0"/>
              <a:ea typeface="Noto Serif" panose="02020600060500020200" pitchFamily="18" charset="0"/>
              <a:cs typeface="Poppins" panose="00000500000000000000" pitchFamily="2" charset="0"/>
            </a:endParaRPr>
          </a:p>
        </p:txBody>
      </p:sp>
      <p:sp>
        <p:nvSpPr>
          <p:cNvPr id="49" name="Rectangle 16">
            <a:extLst>
              <a:ext uri="{FF2B5EF4-FFF2-40B4-BE49-F238E27FC236}">
                <a16:creationId xmlns:a16="http://schemas.microsoft.com/office/drawing/2014/main" id="{E71D7901-6448-5ABB-2BEF-6279E5332C9C}"/>
              </a:ext>
            </a:extLst>
          </p:cNvPr>
          <p:cNvSpPr/>
          <p:nvPr/>
        </p:nvSpPr>
        <p:spPr>
          <a:xfrm>
            <a:off x="7047466" y="1690462"/>
            <a:ext cx="2589973" cy="117246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46639">
              <a:defRPr/>
            </a:pPr>
            <a:r>
              <a:rPr lang="pt-BR" sz="1172" dirty="0">
                <a:latin typeface="Poppins" pitchFamily="2" charset="77"/>
                <a:cs typeface="Poppins" pitchFamily="2" charset="77"/>
              </a:rPr>
              <a:t>Base de dados de </a:t>
            </a:r>
            <a:r>
              <a:rPr lang="pt-BR" sz="1172" b="1" dirty="0">
                <a:latin typeface="Poppins" pitchFamily="2" charset="77"/>
                <a:cs typeface="Poppins" pitchFamily="2" charset="77"/>
              </a:rPr>
              <a:t>Notas Fiscais Eletrônicas</a:t>
            </a:r>
            <a:r>
              <a:rPr lang="pt-BR" sz="1172" dirty="0">
                <a:latin typeface="Poppins" pitchFamily="2" charset="77"/>
                <a:cs typeface="Poppins" pitchFamily="2" charset="77"/>
              </a:rPr>
              <a:t>, B2B, mantida e alimentada diariamente pelo IBPT/Empresômetro de </a:t>
            </a:r>
            <a:r>
              <a:rPr lang="pt-BR" sz="1172" i="1" dirty="0">
                <a:latin typeface="Poppins" pitchFamily="2" charset="77"/>
                <a:cs typeface="Poppins" pitchFamily="2" charset="77"/>
              </a:rPr>
              <a:t>Players</a:t>
            </a:r>
            <a:r>
              <a:rPr lang="pt-BR" sz="1172" dirty="0">
                <a:latin typeface="Poppins" pitchFamily="2" charset="77"/>
                <a:cs typeface="Poppins" pitchFamily="2" charset="77"/>
              </a:rPr>
              <a:t> fabricantes, atacadistas e varejistas</a:t>
            </a:r>
          </a:p>
        </p:txBody>
      </p:sp>
      <p:sp>
        <p:nvSpPr>
          <p:cNvPr id="65" name="CaixaDeTexto 64">
            <a:extLst>
              <a:ext uri="{FF2B5EF4-FFF2-40B4-BE49-F238E27FC236}">
                <a16:creationId xmlns:a16="http://schemas.microsoft.com/office/drawing/2014/main" id="{154CD684-3534-E754-1AE4-1AE7459AFFF4}"/>
              </a:ext>
            </a:extLst>
          </p:cNvPr>
          <p:cNvSpPr txBox="1"/>
          <p:nvPr/>
        </p:nvSpPr>
        <p:spPr>
          <a:xfrm>
            <a:off x="8530685" y="4251060"/>
            <a:ext cx="2405417" cy="117246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46639">
              <a:defRPr/>
            </a:pPr>
            <a:r>
              <a:rPr lang="pt-BR" sz="1172" dirty="0">
                <a:latin typeface="Poppins Medium" pitchFamily="2" charset="77"/>
                <a:cs typeface="Poppins Medium" pitchFamily="2" charset="77"/>
              </a:rPr>
              <a:t>Dados Públicos e Estatísticas do Simples Nacional e MEI, abertos por CNAE, região e porte de empresas do segmento de interesse do estudo.</a:t>
            </a:r>
          </a:p>
        </p:txBody>
      </p:sp>
      <p:sp>
        <p:nvSpPr>
          <p:cNvPr id="66" name="CaixaDeTexto 65">
            <a:extLst>
              <a:ext uri="{FF2B5EF4-FFF2-40B4-BE49-F238E27FC236}">
                <a16:creationId xmlns:a16="http://schemas.microsoft.com/office/drawing/2014/main" id="{388E6C8D-23C8-CF80-A835-DC48CD894023}"/>
              </a:ext>
            </a:extLst>
          </p:cNvPr>
          <p:cNvSpPr txBox="1"/>
          <p:nvPr/>
        </p:nvSpPr>
        <p:spPr>
          <a:xfrm>
            <a:off x="3855493" y="4246717"/>
            <a:ext cx="1729234" cy="8111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46639">
              <a:defRPr/>
            </a:pPr>
            <a:r>
              <a:rPr lang="pt-BR" sz="1172" dirty="0">
                <a:latin typeface="Poppins Medium" pitchFamily="2" charset="77"/>
                <a:cs typeface="Poppins Medium" pitchFamily="2" charset="77"/>
              </a:rPr>
              <a:t>Dados do mercado</a:t>
            </a:r>
          </a:p>
          <a:p>
            <a:pPr algn="ctr" defTabSz="446639">
              <a:defRPr/>
            </a:pPr>
            <a:r>
              <a:rPr lang="pt-BR" sz="1172" dirty="0">
                <a:latin typeface="Poppins Medium" pitchFamily="2" charset="77"/>
                <a:cs typeface="Poppins Medium" pitchFamily="2" charset="77"/>
              </a:rPr>
              <a:t>de produtos de agronegócio e pecuária;</a:t>
            </a:r>
          </a:p>
        </p:txBody>
      </p:sp>
      <p:sp>
        <p:nvSpPr>
          <p:cNvPr id="68" name="CaixaDeTexto 67">
            <a:extLst>
              <a:ext uri="{FF2B5EF4-FFF2-40B4-BE49-F238E27FC236}">
                <a16:creationId xmlns:a16="http://schemas.microsoft.com/office/drawing/2014/main" id="{2518D8C1-265E-7D34-3BAC-4B40EB0A438D}"/>
              </a:ext>
            </a:extLst>
          </p:cNvPr>
          <p:cNvSpPr txBox="1"/>
          <p:nvPr/>
        </p:nvSpPr>
        <p:spPr>
          <a:xfrm>
            <a:off x="5941495" y="4258195"/>
            <a:ext cx="2009943" cy="8111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446639">
              <a:defRPr/>
            </a:pPr>
            <a:r>
              <a:rPr lang="pt-BR" sz="1172" dirty="0">
                <a:latin typeface="Poppins Medium" pitchFamily="2" charset="77"/>
                <a:cs typeface="Poppins Medium" pitchFamily="2" charset="77"/>
              </a:rPr>
              <a:t>Banco de Dados Públicos da RAIS 2021, ajustados pelos dados do CAGED 2022;</a:t>
            </a:r>
          </a:p>
        </p:txBody>
      </p:sp>
      <p:pic>
        <p:nvPicPr>
          <p:cNvPr id="11274" name="Imagem 69">
            <a:extLst>
              <a:ext uri="{FF2B5EF4-FFF2-40B4-BE49-F238E27FC236}">
                <a16:creationId xmlns:a16="http://schemas.microsoft.com/office/drawing/2014/main" id="{913514DE-7545-5B79-E35C-1D6A508FC9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8957" y="3501867"/>
            <a:ext cx="601742" cy="529626"/>
          </a:xfrm>
          <a:prstGeom prst="rect">
            <a:avLst/>
          </a:prstGeom>
          <a:solidFill>
            <a:schemeClr val="tx1"/>
          </a:solidFill>
          <a:ln>
            <a:noFill/>
          </a:ln>
        </p:spPr>
      </p:pic>
      <p:pic>
        <p:nvPicPr>
          <p:cNvPr id="11275" name="Imagem 70">
            <a:extLst>
              <a:ext uri="{FF2B5EF4-FFF2-40B4-BE49-F238E27FC236}">
                <a16:creationId xmlns:a16="http://schemas.microsoft.com/office/drawing/2014/main" id="{1A8CEBEA-5E8D-E486-F166-0EF7C617D9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6233" y="3473952"/>
            <a:ext cx="603294" cy="488527"/>
          </a:xfrm>
          <a:prstGeom prst="rect">
            <a:avLst/>
          </a:prstGeom>
          <a:solidFill>
            <a:schemeClr val="tx1"/>
          </a:solidFill>
          <a:ln>
            <a:noFill/>
          </a:ln>
        </p:spPr>
      </p:pic>
      <p:pic>
        <p:nvPicPr>
          <p:cNvPr id="11276" name="Imagem 71">
            <a:extLst>
              <a:ext uri="{FF2B5EF4-FFF2-40B4-BE49-F238E27FC236}">
                <a16:creationId xmlns:a16="http://schemas.microsoft.com/office/drawing/2014/main" id="{AF26ED9B-DF8D-5FB7-470E-25E0902D54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4228" y="3480930"/>
            <a:ext cx="525748" cy="550563"/>
          </a:xfrm>
          <a:prstGeom prst="rect">
            <a:avLst/>
          </a:prstGeom>
          <a:solidFill>
            <a:schemeClr val="tx1"/>
          </a:solidFill>
          <a:ln>
            <a:noFill/>
          </a:ln>
        </p:spPr>
      </p:pic>
      <p:cxnSp>
        <p:nvCxnSpPr>
          <p:cNvPr id="74" name="Conector Reto 73">
            <a:extLst>
              <a:ext uri="{FF2B5EF4-FFF2-40B4-BE49-F238E27FC236}">
                <a16:creationId xmlns:a16="http://schemas.microsoft.com/office/drawing/2014/main" id="{9F1F7102-691E-7932-7FE5-C06CD3A5CC40}"/>
              </a:ext>
            </a:extLst>
          </p:cNvPr>
          <p:cNvCxnSpPr/>
          <p:nvPr/>
        </p:nvCxnSpPr>
        <p:spPr>
          <a:xfrm>
            <a:off x="5715259" y="3458467"/>
            <a:ext cx="0" cy="155088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ector Reto 74">
            <a:extLst>
              <a:ext uri="{FF2B5EF4-FFF2-40B4-BE49-F238E27FC236}">
                <a16:creationId xmlns:a16="http://schemas.microsoft.com/office/drawing/2014/main" id="{D1265AFD-D4B4-CFD5-7B9F-3E6628DE5F90}"/>
              </a:ext>
            </a:extLst>
          </p:cNvPr>
          <p:cNvCxnSpPr/>
          <p:nvPr/>
        </p:nvCxnSpPr>
        <p:spPr>
          <a:xfrm>
            <a:off x="8224586" y="3458467"/>
            <a:ext cx="0" cy="155088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000" name="CaixaDeTexto 19">
            <a:extLst>
              <a:ext uri="{FF2B5EF4-FFF2-40B4-BE49-F238E27FC236}">
                <a16:creationId xmlns:a16="http://schemas.microsoft.com/office/drawing/2014/main" id="{F60E69EE-0A4F-7C26-8035-3DCEE85CDF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6540" y="1724581"/>
            <a:ext cx="2439538" cy="393924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446639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pt-BR" altLang="pt-BR" sz="1563" dirty="0">
                <a:solidFill>
                  <a:prstClr val="white"/>
                </a:solidFill>
                <a:latin typeface="Poppins" pitchFamily="2" charset="0"/>
                <a:cs typeface="Poppins" pitchFamily="2" charset="0"/>
              </a:rPr>
              <a:t>Base estatística de </a:t>
            </a:r>
            <a:r>
              <a:rPr lang="pt-BR" altLang="pt-BR" sz="1563" b="1" dirty="0">
                <a:solidFill>
                  <a:prstClr val="white"/>
                </a:solidFill>
                <a:latin typeface="Poppins" pitchFamily="2" charset="0"/>
                <a:cs typeface="Poppins" pitchFamily="2" charset="0"/>
              </a:rPr>
              <a:t>Informações de Documentos Fiscais</a:t>
            </a:r>
            <a:r>
              <a:rPr lang="pt-BR" altLang="pt-BR" sz="1563" dirty="0">
                <a:solidFill>
                  <a:prstClr val="white"/>
                </a:solidFill>
                <a:latin typeface="Poppins" pitchFamily="2" charset="0"/>
                <a:cs typeface="Poppins" pitchFamily="2" charset="0"/>
              </a:rPr>
              <a:t>, de Fontes Públicas, Oficiais e Abertas como a Receita Federal do Brasil </a:t>
            </a:r>
          </a:p>
          <a:p>
            <a:pPr defTabSz="446639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endParaRPr lang="pt-BR" altLang="pt-BR" sz="1563" dirty="0">
              <a:solidFill>
                <a:prstClr val="white"/>
              </a:solidFill>
              <a:latin typeface="Poppins" pitchFamily="2" charset="0"/>
              <a:cs typeface="Poppins" pitchFamily="2" charset="0"/>
              <a:sym typeface="Wingdings" panose="05000000000000000000" pitchFamily="2" charset="2"/>
            </a:endParaRPr>
          </a:p>
          <a:p>
            <a:pPr marL="279149" indent="-279149" defTabSz="446639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è"/>
              <a:defRPr/>
            </a:pPr>
            <a:r>
              <a:rPr lang="pt-BR" altLang="pt-BR" sz="1563" dirty="0">
                <a:solidFill>
                  <a:prstClr val="white"/>
                </a:solidFill>
                <a:latin typeface="Poppins" pitchFamily="2" charset="0"/>
                <a:cs typeface="Poppins" pitchFamily="2" charset="0"/>
                <a:sym typeface="Wingdings" panose="05000000000000000000" pitchFamily="2" charset="2"/>
              </a:rPr>
              <a:t>Coleta de informações sobre carga tributária</a:t>
            </a:r>
          </a:p>
          <a:p>
            <a:pPr marL="279149" indent="-279149" defTabSz="446639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è"/>
              <a:defRPr/>
            </a:pPr>
            <a:endParaRPr lang="pt-BR" altLang="pt-BR" sz="1563" dirty="0">
              <a:solidFill>
                <a:prstClr val="white"/>
              </a:solidFill>
              <a:latin typeface="Poppins" pitchFamily="2" charset="0"/>
              <a:cs typeface="Poppins" pitchFamily="2" charset="0"/>
              <a:sym typeface="Wingdings" panose="05000000000000000000" pitchFamily="2" charset="2"/>
            </a:endParaRPr>
          </a:p>
          <a:p>
            <a:pPr marL="279149" indent="-279149" defTabSz="446639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è"/>
              <a:defRPr/>
            </a:pPr>
            <a:r>
              <a:rPr lang="pt-BR" altLang="pt-BR" sz="1563" dirty="0">
                <a:solidFill>
                  <a:prstClr val="white"/>
                </a:solidFill>
                <a:latin typeface="Poppins" pitchFamily="2" charset="0"/>
                <a:cs typeface="Poppins" pitchFamily="2" charset="0"/>
                <a:sym typeface="Wingdings" panose="05000000000000000000" pitchFamily="2" charset="2"/>
              </a:rPr>
              <a:t>Em alguns casos, solicitados especificamente      </a:t>
            </a:r>
            <a:r>
              <a:rPr lang="pt-BR" altLang="pt-BR" sz="1563" b="1" dirty="0">
                <a:solidFill>
                  <a:prstClr val="white"/>
                </a:solidFill>
                <a:latin typeface="Poppins" pitchFamily="2" charset="0"/>
                <a:cs typeface="Poppins" pitchFamily="2" charset="0"/>
                <a:sym typeface="Wingdings" panose="05000000000000000000" pitchFamily="2" charset="2"/>
              </a:rPr>
              <a:t>via LAI</a:t>
            </a:r>
          </a:p>
        </p:txBody>
      </p:sp>
      <p:pic>
        <p:nvPicPr>
          <p:cNvPr id="11281" name="Imagem 3" descr="Logotipo, nome da empresa&#10;&#10;Descrição gerada automaticamente">
            <a:extLst>
              <a:ext uri="{FF2B5EF4-FFF2-40B4-BE49-F238E27FC236}">
                <a16:creationId xmlns:a16="http://schemas.microsoft.com/office/drawing/2014/main" id="{FDCC2D6C-3D66-926D-D3BA-78284A1D7D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95" y="305524"/>
            <a:ext cx="1304292" cy="1149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7750C042-416A-9502-459A-B2E4D469370E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220526" y="880126"/>
            <a:ext cx="643617" cy="643617"/>
          </a:xfrm>
          <a:prstGeom prst="rect">
            <a:avLst/>
          </a:prstGeom>
          <a:solidFill>
            <a:schemeClr val="tx1"/>
          </a:solidFill>
          <a:ln>
            <a:solidFill>
              <a:schemeClr val="dk1"/>
            </a:solidFill>
          </a:ln>
        </p:spPr>
      </p:pic>
      <p:sp>
        <p:nvSpPr>
          <p:cNvPr id="4" name="Rectangle 16">
            <a:extLst>
              <a:ext uri="{FF2B5EF4-FFF2-40B4-BE49-F238E27FC236}">
                <a16:creationId xmlns:a16="http://schemas.microsoft.com/office/drawing/2014/main" id="{1DBF62AD-2CCE-4E56-427C-D698D30C131B}"/>
              </a:ext>
            </a:extLst>
          </p:cNvPr>
          <p:cNvSpPr/>
          <p:nvPr/>
        </p:nvSpPr>
        <p:spPr>
          <a:xfrm>
            <a:off x="3391262" y="5926268"/>
            <a:ext cx="7312408" cy="384721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446639">
              <a:defRPr/>
            </a:pPr>
            <a:r>
              <a:rPr lang="pt-BR" sz="1000" dirty="0">
                <a:latin typeface="Poppins" pitchFamily="2" charset="77"/>
                <a:cs typeface="Poppins" pitchFamily="2" charset="77"/>
              </a:rPr>
              <a:t>(*) </a:t>
            </a:r>
            <a:r>
              <a:rPr lang="pt-BR" sz="900" i="1" dirty="0">
                <a:latin typeface="Poppins" pitchFamily="2" charset="77"/>
                <a:cs typeface="Poppins" pitchFamily="2" charset="77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gov.br/rec itafederal/pt-br/centrais-de-conteudo/publicacoes/estudos/pessoas-juridicas-por-setor/estudos-setoriais-das-pessoas-juridicas/</a:t>
            </a:r>
            <a:endParaRPr lang="pt-BR" sz="900" dirty="0">
              <a:latin typeface="Poppins" pitchFamily="2" charset="77"/>
              <a:cs typeface="Poppins" pitchFamily="2" charset="77"/>
            </a:endParaRPr>
          </a:p>
        </p:txBody>
      </p:sp>
      <p:pic>
        <p:nvPicPr>
          <p:cNvPr id="11284" name="Picture 22" descr="Nota Fiscal Eletrônica | Sistema de Gestão | BlueFocus Software">
            <a:extLst>
              <a:ext uri="{FF2B5EF4-FFF2-40B4-BE49-F238E27FC236}">
                <a16:creationId xmlns:a16="http://schemas.microsoft.com/office/drawing/2014/main" id="{6F212EBC-D292-50F3-A025-110DD9E89BF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7786" y="902614"/>
            <a:ext cx="643616" cy="643616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</p:pic>
      <p:sp>
        <p:nvSpPr>
          <p:cNvPr id="5" name="Rectangle 16">
            <a:extLst>
              <a:ext uri="{FF2B5EF4-FFF2-40B4-BE49-F238E27FC236}">
                <a16:creationId xmlns:a16="http://schemas.microsoft.com/office/drawing/2014/main" id="{3D7AE72E-3E51-99A2-1AF2-3C3F3C8D21A5}"/>
              </a:ext>
            </a:extLst>
          </p:cNvPr>
          <p:cNvSpPr/>
          <p:nvPr/>
        </p:nvSpPr>
        <p:spPr>
          <a:xfrm>
            <a:off x="4341178" y="1676505"/>
            <a:ext cx="2267389" cy="992564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defTabSz="446639">
              <a:defRPr/>
            </a:pPr>
            <a:r>
              <a:rPr lang="pt-BR" sz="1172" dirty="0">
                <a:latin typeface="Poppins" pitchFamily="2" charset="77"/>
                <a:cs typeface="Poppins" pitchFamily="2" charset="77"/>
              </a:rPr>
              <a:t>Estudos do </a:t>
            </a:r>
            <a:r>
              <a:rPr lang="pt-BR" sz="1172" b="1" dirty="0">
                <a:latin typeface="Poppins" pitchFamily="2" charset="77"/>
                <a:cs typeface="Poppins" pitchFamily="2" charset="77"/>
              </a:rPr>
              <a:t>Perfil das PJs</a:t>
            </a:r>
            <a:r>
              <a:rPr lang="pt-BR" sz="1172" dirty="0">
                <a:latin typeface="Poppins" pitchFamily="2" charset="77"/>
                <a:cs typeface="Poppins" pitchFamily="2" charset="77"/>
              </a:rPr>
              <a:t> (RFB) e Dados Setoriais Consolidados–UF e Forma de Tributação por Subclasse CNAE (*)</a:t>
            </a:r>
          </a:p>
        </p:txBody>
      </p:sp>
      <p:cxnSp>
        <p:nvCxnSpPr>
          <p:cNvPr id="6" name="Conector Reto 74">
            <a:extLst>
              <a:ext uri="{FF2B5EF4-FFF2-40B4-BE49-F238E27FC236}">
                <a16:creationId xmlns:a16="http://schemas.microsoft.com/office/drawing/2014/main" id="{7BC5CCA8-62AA-9940-6DD0-1102C96431DF}"/>
              </a:ext>
            </a:extLst>
          </p:cNvPr>
          <p:cNvCxnSpPr/>
          <p:nvPr/>
        </p:nvCxnSpPr>
        <p:spPr>
          <a:xfrm>
            <a:off x="6853580" y="1187976"/>
            <a:ext cx="0" cy="155088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CaixaDeTexto 1">
            <a:extLst>
              <a:ext uri="{FF2B5EF4-FFF2-40B4-BE49-F238E27FC236}">
                <a16:creationId xmlns:a16="http://schemas.microsoft.com/office/drawing/2014/main" id="{E6AA0C90-A322-E190-C2D3-E1E134356F31}"/>
              </a:ext>
            </a:extLst>
          </p:cNvPr>
          <p:cNvSpPr txBox="1"/>
          <p:nvPr/>
        </p:nvSpPr>
        <p:spPr>
          <a:xfrm>
            <a:off x="3410648" y="6402042"/>
            <a:ext cx="7721841" cy="29001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46639">
              <a:defRPr/>
            </a:pPr>
            <a:r>
              <a:rPr lang="pt-BR" sz="1303" dirty="0">
                <a:latin typeface="Poppins" pitchFamily="2" charset="77"/>
                <a:cs typeface="Poppins" pitchFamily="2" charset="77"/>
              </a:rPr>
              <a:t>IDV - Estudo sobre Carga Tributária na Cadeia de Valor – Varejo / 2023 por IBPT</a:t>
            </a:r>
          </a:p>
        </p:txBody>
      </p:sp>
      <p:cxnSp>
        <p:nvCxnSpPr>
          <p:cNvPr id="7" name="Conector Reto 64">
            <a:extLst>
              <a:ext uri="{FF2B5EF4-FFF2-40B4-BE49-F238E27FC236}">
                <a16:creationId xmlns:a16="http://schemas.microsoft.com/office/drawing/2014/main" id="{1BAABBE6-14FC-43ED-6F95-6B4870E2D48F}"/>
              </a:ext>
            </a:extLst>
          </p:cNvPr>
          <p:cNvCxnSpPr>
            <a:cxnSpLocks/>
          </p:cNvCxnSpPr>
          <p:nvPr/>
        </p:nvCxnSpPr>
        <p:spPr>
          <a:xfrm>
            <a:off x="3461827" y="6358617"/>
            <a:ext cx="6657937" cy="2791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Google Shape;905;p4">
            <a:extLst>
              <a:ext uri="{FF2B5EF4-FFF2-40B4-BE49-F238E27FC236}">
                <a16:creationId xmlns:a16="http://schemas.microsoft.com/office/drawing/2014/main" id="{9C6C8200-D549-F657-E60A-40E43DAFC14C}"/>
              </a:ext>
            </a:extLst>
          </p:cNvPr>
          <p:cNvSpPr/>
          <p:nvPr/>
        </p:nvSpPr>
        <p:spPr>
          <a:xfrm>
            <a:off x="11588496" y="6467431"/>
            <a:ext cx="307094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14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ADE0440C-1AFC-DA45-0A70-ACE281D39FDF}"/>
              </a:ext>
            </a:extLst>
          </p:cNvPr>
          <p:cNvSpPr/>
          <p:nvPr/>
        </p:nvSpPr>
        <p:spPr>
          <a:xfrm>
            <a:off x="1" y="1124142"/>
            <a:ext cx="12192000" cy="5833247"/>
          </a:xfrm>
          <a:prstGeom prst="rect">
            <a:avLst/>
          </a:prstGeom>
          <a:solidFill>
            <a:srgbClr val="0562AF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758" dirty="0"/>
          </a:p>
        </p:txBody>
      </p:sp>
      <p:sp>
        <p:nvSpPr>
          <p:cNvPr id="1180" name="Google Shape;1180;p13"/>
          <p:cNvSpPr txBox="1">
            <a:spLocks noGrp="1"/>
          </p:cNvSpPr>
          <p:nvPr>
            <p:ph type="title"/>
          </p:nvPr>
        </p:nvSpPr>
        <p:spPr>
          <a:xfrm>
            <a:off x="596766" y="169959"/>
            <a:ext cx="11528178" cy="731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Georgia"/>
              <a:buNone/>
            </a:pPr>
            <a:r>
              <a:rPr lang="pt-BR" sz="2800" i="1" dirty="0">
                <a:solidFill>
                  <a:schemeClr val="lt1"/>
                </a:solidFill>
              </a:rPr>
              <a:t>Estimativa de Potencial de Arrecadação Anual </a:t>
            </a:r>
            <a:endParaRPr sz="2800" dirty="0">
              <a:solidFill>
                <a:schemeClr val="lt1"/>
              </a:solidFill>
            </a:endParaRPr>
          </a:p>
        </p:txBody>
      </p:sp>
      <p:cxnSp>
        <p:nvCxnSpPr>
          <p:cNvPr id="1181" name="Google Shape;1181;p13"/>
          <p:cNvCxnSpPr/>
          <p:nvPr/>
        </p:nvCxnSpPr>
        <p:spPr>
          <a:xfrm>
            <a:off x="554734" y="1007654"/>
            <a:ext cx="11637266" cy="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3" name="Google Shape;1183;p13"/>
          <p:cNvSpPr txBox="1"/>
          <p:nvPr/>
        </p:nvSpPr>
        <p:spPr>
          <a:xfrm>
            <a:off x="1962364" y="6524090"/>
            <a:ext cx="1818526" cy="2568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4" name="Google Shape;1184;p13"/>
          <p:cNvSpPr txBox="1"/>
          <p:nvPr/>
        </p:nvSpPr>
        <p:spPr>
          <a:xfrm>
            <a:off x="1609462" y="5827353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5. Source">
            <a:extLst>
              <a:ext uri="{FF2B5EF4-FFF2-40B4-BE49-F238E27FC236}">
                <a16:creationId xmlns:a16="http://schemas.microsoft.com/office/drawing/2014/main" id="{572E81B0-8A0D-1BC4-C14C-3DED511DD6B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96766" y="6567244"/>
            <a:ext cx="8517344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Fonte: Estudo sobre Carga </a:t>
            </a:r>
            <a:r>
              <a:rPr lang="pt-BR" sz="900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Tributária  IBPT. </a:t>
            </a: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Elaboração IDV. </a:t>
            </a: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84E84599-ACDB-61E2-D734-FC0484F6A4F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673926" y="299511"/>
            <a:ext cx="9934524" cy="73152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  <a:defRPr sz="2500" b="1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Georgia"/>
              <a:buNone/>
              <a:tabLst/>
              <a:defRPr/>
            </a:pPr>
            <a:r>
              <a:rPr lang="pt-BR" sz="2800" kern="0" dirty="0">
                <a:solidFill>
                  <a:srgbClr val="FFFFFF"/>
                </a:solidFill>
              </a:rPr>
              <a:t>Taxa de Isonomia Tributária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Georgia"/>
              <a:buNone/>
              <a:tabLst/>
              <a:defRPr/>
            </a:pPr>
            <a:r>
              <a:rPr lang="pt-BR" sz="2800" kern="0" dirty="0">
                <a:solidFill>
                  <a:srgbClr val="FFFFFF"/>
                </a:solidFill>
              </a:rPr>
              <a:t>3 Cenários para Discussão  - Produtos Nacionais </a:t>
            </a:r>
          </a:p>
        </p:txBody>
      </p:sp>
      <p:grpSp>
        <p:nvGrpSpPr>
          <p:cNvPr id="31" name="Agrupar 30">
            <a:extLst>
              <a:ext uri="{FF2B5EF4-FFF2-40B4-BE49-F238E27FC236}">
                <a16:creationId xmlns:a16="http://schemas.microsoft.com/office/drawing/2014/main" id="{7B3F6A0F-0AE3-BF09-83CE-60BA0E88601F}"/>
              </a:ext>
            </a:extLst>
          </p:cNvPr>
          <p:cNvGrpSpPr/>
          <p:nvPr/>
        </p:nvGrpSpPr>
        <p:grpSpPr>
          <a:xfrm>
            <a:off x="660766" y="1725569"/>
            <a:ext cx="11043569" cy="3863049"/>
            <a:chOff x="709099" y="1796709"/>
            <a:chExt cx="11043569" cy="3863049"/>
          </a:xfrm>
        </p:grpSpPr>
        <p:graphicFrame>
          <p:nvGraphicFramePr>
            <p:cNvPr id="6" name="Gráfico 5">
              <a:extLst>
                <a:ext uri="{FF2B5EF4-FFF2-40B4-BE49-F238E27FC236}">
                  <a16:creationId xmlns:a16="http://schemas.microsoft.com/office/drawing/2014/main" id="{897D15F5-F43E-B230-53CF-1EF756E5280E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12018147"/>
                </p:ext>
              </p:extLst>
            </p:nvPr>
          </p:nvGraphicFramePr>
          <p:xfrm>
            <a:off x="709099" y="1796709"/>
            <a:ext cx="10413904" cy="386304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1190" name="Google Shape;1190;p13"/>
            <p:cNvSpPr txBox="1"/>
            <p:nvPr/>
          </p:nvSpPr>
          <p:spPr>
            <a:xfrm>
              <a:off x="4542243" y="5279147"/>
              <a:ext cx="2028825" cy="28417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600"/>
                <a:buFont typeface="Arial"/>
                <a:buNone/>
                <a:tabLst/>
                <a:defRPr/>
              </a:pPr>
              <a:endParaRPr kumimoji="0" sz="16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" name="Conector reto 7">
              <a:extLst>
                <a:ext uri="{FF2B5EF4-FFF2-40B4-BE49-F238E27FC236}">
                  <a16:creationId xmlns:a16="http://schemas.microsoft.com/office/drawing/2014/main" id="{CFB128C2-F9D3-4EA2-8368-62906AF6EBAB}"/>
                </a:ext>
              </a:extLst>
            </p:cNvPr>
            <p:cNvCxnSpPr/>
            <p:nvPr/>
          </p:nvCxnSpPr>
          <p:spPr>
            <a:xfrm>
              <a:off x="793077" y="2999781"/>
              <a:ext cx="10119995" cy="0"/>
            </a:xfrm>
            <a:prstGeom prst="line">
              <a:avLst/>
            </a:prstGeom>
            <a:ln w="28575">
              <a:solidFill>
                <a:schemeClr val="accent2">
                  <a:lumMod val="40000"/>
                  <a:lumOff val="6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6D1FE62F-9D30-EC86-8CDB-C451220BF0A1}"/>
                </a:ext>
              </a:extLst>
            </p:cNvPr>
            <p:cNvSpPr txBox="1"/>
            <p:nvPr/>
          </p:nvSpPr>
          <p:spPr>
            <a:xfrm>
              <a:off x="11035295" y="2876670"/>
              <a:ext cx="707848" cy="246221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000" dirty="0">
                  <a:solidFill>
                    <a:schemeClr val="bg1"/>
                  </a:solidFill>
                </a:rPr>
                <a:t>109,9 %</a:t>
              </a:r>
            </a:p>
          </p:txBody>
        </p:sp>
        <p:cxnSp>
          <p:nvCxnSpPr>
            <p:cNvPr id="14" name="Conector reto 13">
              <a:extLst>
                <a:ext uri="{FF2B5EF4-FFF2-40B4-BE49-F238E27FC236}">
                  <a16:creationId xmlns:a16="http://schemas.microsoft.com/office/drawing/2014/main" id="{9C20181B-8CC9-CE77-9BEC-F0B65F94A956}"/>
                </a:ext>
              </a:extLst>
            </p:cNvPr>
            <p:cNvCxnSpPr/>
            <p:nvPr/>
          </p:nvCxnSpPr>
          <p:spPr>
            <a:xfrm>
              <a:off x="793077" y="4380296"/>
              <a:ext cx="10119995" cy="0"/>
            </a:xfrm>
            <a:prstGeom prst="line">
              <a:avLst/>
            </a:prstGeom>
            <a:ln w="28575">
              <a:solidFill>
                <a:srgbClr val="FFC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CaixaDeTexto 16">
              <a:extLst>
                <a:ext uri="{FF2B5EF4-FFF2-40B4-BE49-F238E27FC236}">
                  <a16:creationId xmlns:a16="http://schemas.microsoft.com/office/drawing/2014/main" id="{B7C8D6C8-1079-C88C-D81D-A233C7FEBA8C}"/>
                </a:ext>
              </a:extLst>
            </p:cNvPr>
            <p:cNvSpPr txBox="1"/>
            <p:nvPr/>
          </p:nvSpPr>
          <p:spPr>
            <a:xfrm>
              <a:off x="11035295" y="4257185"/>
              <a:ext cx="707848" cy="246221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000" dirty="0">
                  <a:solidFill>
                    <a:schemeClr val="bg1"/>
                  </a:solidFill>
                </a:rPr>
                <a:t>44,5 %</a:t>
              </a:r>
            </a:p>
          </p:txBody>
        </p:sp>
        <p:cxnSp>
          <p:nvCxnSpPr>
            <p:cNvPr id="20" name="Conector reto 19">
              <a:extLst>
                <a:ext uri="{FF2B5EF4-FFF2-40B4-BE49-F238E27FC236}">
                  <a16:creationId xmlns:a16="http://schemas.microsoft.com/office/drawing/2014/main" id="{A683873E-6603-684A-4357-D799FE319165}"/>
                </a:ext>
              </a:extLst>
            </p:cNvPr>
            <p:cNvCxnSpPr/>
            <p:nvPr/>
          </p:nvCxnSpPr>
          <p:spPr>
            <a:xfrm>
              <a:off x="793076" y="4894646"/>
              <a:ext cx="10119995" cy="0"/>
            </a:xfrm>
            <a:prstGeom prst="line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CaixaDeTexto 20">
              <a:extLst>
                <a:ext uri="{FF2B5EF4-FFF2-40B4-BE49-F238E27FC236}">
                  <a16:creationId xmlns:a16="http://schemas.microsoft.com/office/drawing/2014/main" id="{FCD4D68C-E732-1884-36D1-CF63C73DB183}"/>
                </a:ext>
              </a:extLst>
            </p:cNvPr>
            <p:cNvSpPr txBox="1"/>
            <p:nvPr/>
          </p:nvSpPr>
          <p:spPr>
            <a:xfrm>
              <a:off x="11044820" y="4771535"/>
              <a:ext cx="707848" cy="246221"/>
            </a:xfrm>
            <a:prstGeom prst="rect">
              <a:avLst/>
            </a:prstGeom>
            <a:solidFill>
              <a:srgbClr val="00B05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000" dirty="0">
                  <a:solidFill>
                    <a:schemeClr val="bg1"/>
                  </a:solidFill>
                </a:rPr>
                <a:t>20,4 %</a:t>
              </a:r>
            </a:p>
          </p:txBody>
        </p:sp>
      </p:grpSp>
      <p:grpSp>
        <p:nvGrpSpPr>
          <p:cNvPr id="25" name="Agrupar 24">
            <a:extLst>
              <a:ext uri="{FF2B5EF4-FFF2-40B4-BE49-F238E27FC236}">
                <a16:creationId xmlns:a16="http://schemas.microsoft.com/office/drawing/2014/main" id="{40CDF2EC-AADB-D610-21D7-558FFD4C3683}"/>
              </a:ext>
            </a:extLst>
          </p:cNvPr>
          <p:cNvGrpSpPr/>
          <p:nvPr/>
        </p:nvGrpSpPr>
        <p:grpSpPr>
          <a:xfrm>
            <a:off x="629329" y="1507355"/>
            <a:ext cx="11562671" cy="277048"/>
            <a:chOff x="925449" y="1323501"/>
            <a:chExt cx="11562671" cy="277048"/>
          </a:xfrm>
        </p:grpSpPr>
        <p:sp>
          <p:nvSpPr>
            <p:cNvPr id="11" name="CaixaDeTexto 10">
              <a:extLst>
                <a:ext uri="{FF2B5EF4-FFF2-40B4-BE49-F238E27FC236}">
                  <a16:creationId xmlns:a16="http://schemas.microsoft.com/office/drawing/2014/main" id="{2C8B9698-2F5D-81E9-CF0D-328BFAD76C4C}"/>
                </a:ext>
              </a:extLst>
            </p:cNvPr>
            <p:cNvSpPr txBox="1"/>
            <p:nvPr/>
          </p:nvSpPr>
          <p:spPr>
            <a:xfrm>
              <a:off x="1507078" y="1323501"/>
              <a:ext cx="362902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100" dirty="0"/>
                <a:t>ICMS “17%” + </a:t>
              </a:r>
              <a:r>
                <a:rPr lang="pt-BR" sz="1100" b="1" dirty="0"/>
                <a:t>74,2% Imposto de Importação </a:t>
              </a:r>
            </a:p>
          </p:txBody>
        </p:sp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CAEF70E3-667A-5541-DF84-5951C61EBE08}"/>
                </a:ext>
              </a:extLst>
            </p:cNvPr>
            <p:cNvSpPr txBox="1"/>
            <p:nvPr/>
          </p:nvSpPr>
          <p:spPr>
            <a:xfrm>
              <a:off x="925449" y="1416233"/>
              <a:ext cx="534647" cy="75645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txBody>
            <a:bodyPr wrap="square" rtlCol="0">
              <a:spAutoFit/>
            </a:bodyPr>
            <a:lstStyle/>
            <a:p>
              <a:endParaRPr lang="pt-BR" dirty="0"/>
            </a:p>
          </p:txBody>
        </p:sp>
        <p:sp>
          <p:nvSpPr>
            <p:cNvPr id="18" name="CaixaDeTexto 17">
              <a:extLst>
                <a:ext uri="{FF2B5EF4-FFF2-40B4-BE49-F238E27FC236}">
                  <a16:creationId xmlns:a16="http://schemas.microsoft.com/office/drawing/2014/main" id="{537FEB60-4FB0-7BA0-EF1F-BFD48C872365}"/>
                </a:ext>
              </a:extLst>
            </p:cNvPr>
            <p:cNvSpPr txBox="1"/>
            <p:nvPr/>
          </p:nvSpPr>
          <p:spPr>
            <a:xfrm flipV="1">
              <a:off x="4672994" y="1425234"/>
              <a:ext cx="501065" cy="66647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 rtlCol="0">
              <a:spAutoFit/>
            </a:bodyPr>
            <a:lstStyle/>
            <a:p>
              <a:endParaRPr lang="pt-BR" dirty="0"/>
            </a:p>
          </p:txBody>
        </p:sp>
        <p:sp>
          <p:nvSpPr>
            <p:cNvPr id="19" name="CaixaDeTexto 18">
              <a:extLst>
                <a:ext uri="{FF2B5EF4-FFF2-40B4-BE49-F238E27FC236}">
                  <a16:creationId xmlns:a16="http://schemas.microsoft.com/office/drawing/2014/main" id="{A8EEF690-CF53-86C4-36E9-B9F5F7D8FDBA}"/>
                </a:ext>
              </a:extLst>
            </p:cNvPr>
            <p:cNvSpPr txBox="1"/>
            <p:nvPr/>
          </p:nvSpPr>
          <p:spPr>
            <a:xfrm>
              <a:off x="5183086" y="1338939"/>
              <a:ext cx="362902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100" dirty="0"/>
                <a:t>ICMS “17%” + </a:t>
              </a:r>
              <a:r>
                <a:rPr lang="pt-BR" sz="1100" b="1" dirty="0"/>
                <a:t>20,0 % Imposto de Importação </a:t>
              </a:r>
            </a:p>
          </p:txBody>
        </p:sp>
        <p:sp>
          <p:nvSpPr>
            <p:cNvPr id="22" name="CaixaDeTexto 21">
              <a:extLst>
                <a:ext uri="{FF2B5EF4-FFF2-40B4-BE49-F238E27FC236}">
                  <a16:creationId xmlns:a16="http://schemas.microsoft.com/office/drawing/2014/main" id="{9AA65328-ED60-14B1-5AAB-DAABB2FD3CE8}"/>
                </a:ext>
              </a:extLst>
            </p:cNvPr>
            <p:cNvSpPr txBox="1"/>
            <p:nvPr/>
          </p:nvSpPr>
          <p:spPr>
            <a:xfrm flipV="1">
              <a:off x="8348561" y="1435696"/>
              <a:ext cx="510533" cy="77692"/>
            </a:xfrm>
            <a:prstGeom prst="rect">
              <a:avLst/>
            </a:prstGeom>
            <a:solidFill>
              <a:srgbClr val="00B050"/>
            </a:solidFill>
          </p:spPr>
          <p:txBody>
            <a:bodyPr wrap="square" rtlCol="0">
              <a:spAutoFit/>
            </a:bodyPr>
            <a:lstStyle/>
            <a:p>
              <a:endParaRPr lang="pt-BR" dirty="0"/>
            </a:p>
          </p:txBody>
        </p:sp>
        <p:sp>
          <p:nvSpPr>
            <p:cNvPr id="23" name="CaixaDeTexto 22">
              <a:extLst>
                <a:ext uri="{FF2B5EF4-FFF2-40B4-BE49-F238E27FC236}">
                  <a16:creationId xmlns:a16="http://schemas.microsoft.com/office/drawing/2014/main" id="{AC5D1046-5CF7-DAF4-0E28-5FC0FDEA5AA1}"/>
                </a:ext>
              </a:extLst>
            </p:cNvPr>
            <p:cNvSpPr txBox="1"/>
            <p:nvPr/>
          </p:nvSpPr>
          <p:spPr>
            <a:xfrm>
              <a:off x="8859094" y="1338429"/>
              <a:ext cx="362902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100" dirty="0"/>
                <a:t>ICMS “17%” + 00</a:t>
              </a:r>
              <a:r>
                <a:rPr lang="pt-BR" sz="1100" b="1" dirty="0"/>
                <a:t>,0 % Imposto de Importação </a:t>
              </a:r>
            </a:p>
          </p:txBody>
        </p:sp>
      </p:grp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7BFD0AFD-09C3-7095-1F95-E6323838F1CF}"/>
              </a:ext>
            </a:extLst>
          </p:cNvPr>
          <p:cNvSpPr txBox="1"/>
          <p:nvPr/>
        </p:nvSpPr>
        <p:spPr>
          <a:xfrm>
            <a:off x="2204447" y="5674703"/>
            <a:ext cx="745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/>
              <a:t>Carga Tributária Média por Família de NCM – Produtos Nacionais  </a:t>
            </a:r>
          </a:p>
        </p:txBody>
      </p:sp>
      <p:grpSp>
        <p:nvGrpSpPr>
          <p:cNvPr id="30" name="Agrupar 29">
            <a:extLst>
              <a:ext uri="{FF2B5EF4-FFF2-40B4-BE49-F238E27FC236}">
                <a16:creationId xmlns:a16="http://schemas.microsoft.com/office/drawing/2014/main" id="{38D0A8D4-5A1B-5381-2E57-5B0695C3B2B8}"/>
              </a:ext>
            </a:extLst>
          </p:cNvPr>
          <p:cNvGrpSpPr/>
          <p:nvPr/>
        </p:nvGrpSpPr>
        <p:grpSpPr>
          <a:xfrm>
            <a:off x="554734" y="6169368"/>
            <a:ext cx="2047772" cy="261610"/>
            <a:chOff x="9760611" y="1993062"/>
            <a:chExt cx="2047772" cy="261610"/>
          </a:xfrm>
        </p:grpSpPr>
        <p:sp>
          <p:nvSpPr>
            <p:cNvPr id="28" name="CaixaDeTexto 27">
              <a:extLst>
                <a:ext uri="{FF2B5EF4-FFF2-40B4-BE49-F238E27FC236}">
                  <a16:creationId xmlns:a16="http://schemas.microsoft.com/office/drawing/2014/main" id="{C28F4B44-574D-7E7E-C1ED-0E03E5025D32}"/>
                </a:ext>
              </a:extLst>
            </p:cNvPr>
            <p:cNvSpPr txBox="1"/>
            <p:nvPr/>
          </p:nvSpPr>
          <p:spPr>
            <a:xfrm>
              <a:off x="9972675" y="1993062"/>
              <a:ext cx="183570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100" dirty="0"/>
                <a:t>Média Aritmética: 109,9%</a:t>
              </a:r>
            </a:p>
          </p:txBody>
        </p:sp>
        <p:sp>
          <p:nvSpPr>
            <p:cNvPr id="29" name="CaixaDeTexto 28">
              <a:extLst>
                <a:ext uri="{FF2B5EF4-FFF2-40B4-BE49-F238E27FC236}">
                  <a16:creationId xmlns:a16="http://schemas.microsoft.com/office/drawing/2014/main" id="{703F39AD-6B46-8F0B-3760-48E2BD5E1F20}"/>
                </a:ext>
              </a:extLst>
            </p:cNvPr>
            <p:cNvSpPr txBox="1"/>
            <p:nvPr/>
          </p:nvSpPr>
          <p:spPr>
            <a:xfrm flipV="1">
              <a:off x="9760611" y="2092242"/>
              <a:ext cx="212064" cy="45719"/>
            </a:xfrm>
            <a:prstGeom prst="rect">
              <a:avLst/>
            </a:prstGeom>
            <a:solidFill>
              <a:srgbClr val="FF0000"/>
            </a:solidFill>
          </p:spPr>
          <p:txBody>
            <a:bodyPr wrap="square" rtlCol="0">
              <a:spAutoFit/>
            </a:bodyPr>
            <a:lstStyle/>
            <a:p>
              <a:endParaRPr lang="pt-BR" dirty="0"/>
            </a:p>
          </p:txBody>
        </p:sp>
      </p:grpSp>
      <p:pic>
        <p:nvPicPr>
          <p:cNvPr id="4" name="Imagem 3" descr="Logotipo, nome da empresa&#10;&#10;Descrição gerada automaticamente">
            <a:extLst>
              <a:ext uri="{FF2B5EF4-FFF2-40B4-BE49-F238E27FC236}">
                <a16:creationId xmlns:a16="http://schemas.microsoft.com/office/drawing/2014/main" id="{C5E6ACAD-C68B-05A8-37AC-BE7000FDD9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506" y="67446"/>
            <a:ext cx="981744" cy="865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Google Shape;905;p4">
            <a:extLst>
              <a:ext uri="{FF2B5EF4-FFF2-40B4-BE49-F238E27FC236}">
                <a16:creationId xmlns:a16="http://schemas.microsoft.com/office/drawing/2014/main" id="{27A57B40-25A1-B434-971E-189E8F429C5B}"/>
              </a:ext>
            </a:extLst>
          </p:cNvPr>
          <p:cNvSpPr/>
          <p:nvPr/>
        </p:nvSpPr>
        <p:spPr>
          <a:xfrm>
            <a:off x="11588496" y="6467431"/>
            <a:ext cx="307094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15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291695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>
            <a:extLst>
              <a:ext uri="{FF2B5EF4-FFF2-40B4-BE49-F238E27FC236}">
                <a16:creationId xmlns:a16="http://schemas.microsoft.com/office/drawing/2014/main" id="{51930D5B-DD9E-AF06-1387-43EEC40E9230}"/>
              </a:ext>
            </a:extLst>
          </p:cNvPr>
          <p:cNvSpPr/>
          <p:nvPr/>
        </p:nvSpPr>
        <p:spPr>
          <a:xfrm>
            <a:off x="1" y="1124142"/>
            <a:ext cx="12192000" cy="5833247"/>
          </a:xfrm>
          <a:prstGeom prst="rect">
            <a:avLst/>
          </a:prstGeom>
          <a:solidFill>
            <a:srgbClr val="0562AF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758" dirty="0"/>
          </a:p>
        </p:txBody>
      </p:sp>
      <p:sp>
        <p:nvSpPr>
          <p:cNvPr id="1180" name="Google Shape;1180;p13"/>
          <p:cNvSpPr txBox="1">
            <a:spLocks noGrp="1"/>
          </p:cNvSpPr>
          <p:nvPr>
            <p:ph type="title"/>
          </p:nvPr>
        </p:nvSpPr>
        <p:spPr>
          <a:xfrm>
            <a:off x="596766" y="169959"/>
            <a:ext cx="11528178" cy="731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Georgia"/>
              <a:buNone/>
            </a:pPr>
            <a:r>
              <a:rPr lang="pt-BR" sz="2800" i="1" dirty="0">
                <a:solidFill>
                  <a:schemeClr val="lt1"/>
                </a:solidFill>
              </a:rPr>
              <a:t>Estimativa de Potencial de Arrecadação Anual </a:t>
            </a:r>
            <a:endParaRPr sz="2800" dirty="0">
              <a:solidFill>
                <a:schemeClr val="lt1"/>
              </a:solidFill>
            </a:endParaRPr>
          </a:p>
        </p:txBody>
      </p:sp>
      <p:cxnSp>
        <p:nvCxnSpPr>
          <p:cNvPr id="1181" name="Google Shape;1181;p13"/>
          <p:cNvCxnSpPr/>
          <p:nvPr/>
        </p:nvCxnSpPr>
        <p:spPr>
          <a:xfrm>
            <a:off x="554734" y="1007654"/>
            <a:ext cx="11637266" cy="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3" name="Google Shape;1183;p13"/>
          <p:cNvSpPr txBox="1"/>
          <p:nvPr/>
        </p:nvSpPr>
        <p:spPr>
          <a:xfrm>
            <a:off x="1962364" y="6524090"/>
            <a:ext cx="1818526" cy="2568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4" name="Google Shape;1184;p13"/>
          <p:cNvSpPr txBox="1"/>
          <p:nvPr/>
        </p:nvSpPr>
        <p:spPr>
          <a:xfrm>
            <a:off x="1609462" y="5827353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5. Source">
            <a:extLst>
              <a:ext uri="{FF2B5EF4-FFF2-40B4-BE49-F238E27FC236}">
                <a16:creationId xmlns:a16="http://schemas.microsoft.com/office/drawing/2014/main" id="{572E81B0-8A0D-1BC4-C14C-3DED511DD6B4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96766" y="6567244"/>
            <a:ext cx="8517344" cy="138499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Fonte: Estudo sobre Carga </a:t>
            </a:r>
            <a:r>
              <a:rPr lang="pt-BR" sz="900" dirty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Tributária  IBPT. </a:t>
            </a:r>
            <a:r>
              <a:rPr kumimoji="0" lang="pt-BR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rPr>
              <a:t>Elaboração IDV. </a:t>
            </a: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84E84599-ACDB-61E2-D734-FC0484F6A4F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1643685" y="290099"/>
            <a:ext cx="10455548" cy="73152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  <a:defRPr sz="2500" b="1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Georgia"/>
              <a:buNone/>
              <a:tabLst/>
              <a:defRPr/>
            </a:pPr>
            <a:r>
              <a:rPr lang="pt-BR" sz="2400" kern="0" dirty="0">
                <a:solidFill>
                  <a:srgbClr val="FFFFFF"/>
                </a:solidFill>
              </a:rPr>
              <a:t>Taxa de Isonomia Tributária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Georgia"/>
              <a:buNone/>
              <a:tabLst/>
              <a:defRPr/>
            </a:pPr>
            <a:r>
              <a:rPr lang="pt-BR" sz="2400" kern="0" dirty="0">
                <a:solidFill>
                  <a:srgbClr val="FFFFFF"/>
                </a:solidFill>
              </a:rPr>
              <a:t>3 cenários para discussão - Produtos Importados para revenda  </a:t>
            </a:r>
          </a:p>
        </p:txBody>
      </p:sp>
      <p:grpSp>
        <p:nvGrpSpPr>
          <p:cNvPr id="25" name="Agrupar 24">
            <a:extLst>
              <a:ext uri="{FF2B5EF4-FFF2-40B4-BE49-F238E27FC236}">
                <a16:creationId xmlns:a16="http://schemas.microsoft.com/office/drawing/2014/main" id="{40CDF2EC-AADB-D610-21D7-558FFD4C3683}"/>
              </a:ext>
            </a:extLst>
          </p:cNvPr>
          <p:cNvGrpSpPr/>
          <p:nvPr/>
        </p:nvGrpSpPr>
        <p:grpSpPr>
          <a:xfrm>
            <a:off x="616204" y="1492092"/>
            <a:ext cx="11562671" cy="277048"/>
            <a:chOff x="925449" y="1323501"/>
            <a:chExt cx="11562671" cy="277048"/>
          </a:xfrm>
        </p:grpSpPr>
        <p:sp>
          <p:nvSpPr>
            <p:cNvPr id="11" name="CaixaDeTexto 10">
              <a:extLst>
                <a:ext uri="{FF2B5EF4-FFF2-40B4-BE49-F238E27FC236}">
                  <a16:creationId xmlns:a16="http://schemas.microsoft.com/office/drawing/2014/main" id="{2C8B9698-2F5D-81E9-CF0D-328BFAD76C4C}"/>
                </a:ext>
              </a:extLst>
            </p:cNvPr>
            <p:cNvSpPr txBox="1"/>
            <p:nvPr/>
          </p:nvSpPr>
          <p:spPr>
            <a:xfrm>
              <a:off x="1507078" y="1323501"/>
              <a:ext cx="362902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100" dirty="0"/>
                <a:t>ICMS “17%” + </a:t>
              </a:r>
              <a:r>
                <a:rPr lang="pt-BR" sz="1100" b="1" dirty="0"/>
                <a:t>74,2% Imposto de Importação </a:t>
              </a:r>
            </a:p>
          </p:txBody>
        </p:sp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CAEF70E3-667A-5541-DF84-5951C61EBE08}"/>
                </a:ext>
              </a:extLst>
            </p:cNvPr>
            <p:cNvSpPr txBox="1"/>
            <p:nvPr/>
          </p:nvSpPr>
          <p:spPr>
            <a:xfrm>
              <a:off x="925449" y="1416233"/>
              <a:ext cx="534647" cy="75645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</p:spPr>
          <p:txBody>
            <a:bodyPr wrap="square" rtlCol="0">
              <a:spAutoFit/>
            </a:bodyPr>
            <a:lstStyle/>
            <a:p>
              <a:endParaRPr lang="pt-BR" dirty="0"/>
            </a:p>
          </p:txBody>
        </p:sp>
        <p:sp>
          <p:nvSpPr>
            <p:cNvPr id="18" name="CaixaDeTexto 17">
              <a:extLst>
                <a:ext uri="{FF2B5EF4-FFF2-40B4-BE49-F238E27FC236}">
                  <a16:creationId xmlns:a16="http://schemas.microsoft.com/office/drawing/2014/main" id="{537FEB60-4FB0-7BA0-EF1F-BFD48C872365}"/>
                </a:ext>
              </a:extLst>
            </p:cNvPr>
            <p:cNvSpPr txBox="1"/>
            <p:nvPr/>
          </p:nvSpPr>
          <p:spPr>
            <a:xfrm flipV="1">
              <a:off x="4672994" y="1425234"/>
              <a:ext cx="501065" cy="66647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 rtlCol="0">
              <a:spAutoFit/>
            </a:bodyPr>
            <a:lstStyle/>
            <a:p>
              <a:endParaRPr lang="pt-BR" dirty="0"/>
            </a:p>
          </p:txBody>
        </p:sp>
        <p:sp>
          <p:nvSpPr>
            <p:cNvPr id="19" name="CaixaDeTexto 18">
              <a:extLst>
                <a:ext uri="{FF2B5EF4-FFF2-40B4-BE49-F238E27FC236}">
                  <a16:creationId xmlns:a16="http://schemas.microsoft.com/office/drawing/2014/main" id="{A8EEF690-CF53-86C4-36E9-B9F5F7D8FDBA}"/>
                </a:ext>
              </a:extLst>
            </p:cNvPr>
            <p:cNvSpPr txBox="1"/>
            <p:nvPr/>
          </p:nvSpPr>
          <p:spPr>
            <a:xfrm>
              <a:off x="5183086" y="1338939"/>
              <a:ext cx="362902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100" dirty="0"/>
                <a:t>ICMS “17%” + </a:t>
              </a:r>
              <a:r>
                <a:rPr lang="pt-BR" sz="1100" b="1" dirty="0"/>
                <a:t>20,0 % Imposto de Importação </a:t>
              </a:r>
            </a:p>
          </p:txBody>
        </p:sp>
        <p:sp>
          <p:nvSpPr>
            <p:cNvPr id="22" name="CaixaDeTexto 21">
              <a:extLst>
                <a:ext uri="{FF2B5EF4-FFF2-40B4-BE49-F238E27FC236}">
                  <a16:creationId xmlns:a16="http://schemas.microsoft.com/office/drawing/2014/main" id="{9AA65328-ED60-14B1-5AAB-DAABB2FD3CE8}"/>
                </a:ext>
              </a:extLst>
            </p:cNvPr>
            <p:cNvSpPr txBox="1"/>
            <p:nvPr/>
          </p:nvSpPr>
          <p:spPr>
            <a:xfrm flipV="1">
              <a:off x="8348561" y="1435696"/>
              <a:ext cx="510533" cy="77692"/>
            </a:xfrm>
            <a:prstGeom prst="rect">
              <a:avLst/>
            </a:prstGeom>
            <a:solidFill>
              <a:srgbClr val="00B050"/>
            </a:solidFill>
          </p:spPr>
          <p:txBody>
            <a:bodyPr wrap="square" rtlCol="0">
              <a:spAutoFit/>
            </a:bodyPr>
            <a:lstStyle/>
            <a:p>
              <a:endParaRPr lang="pt-BR" dirty="0"/>
            </a:p>
          </p:txBody>
        </p:sp>
        <p:sp>
          <p:nvSpPr>
            <p:cNvPr id="23" name="CaixaDeTexto 22">
              <a:extLst>
                <a:ext uri="{FF2B5EF4-FFF2-40B4-BE49-F238E27FC236}">
                  <a16:creationId xmlns:a16="http://schemas.microsoft.com/office/drawing/2014/main" id="{AC5D1046-5CF7-DAF4-0E28-5FC0FDEA5AA1}"/>
                </a:ext>
              </a:extLst>
            </p:cNvPr>
            <p:cNvSpPr txBox="1"/>
            <p:nvPr/>
          </p:nvSpPr>
          <p:spPr>
            <a:xfrm>
              <a:off x="8859094" y="1338429"/>
              <a:ext cx="362902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100" dirty="0"/>
                <a:t>ICMS “17%” + 00</a:t>
              </a:r>
              <a:r>
                <a:rPr lang="pt-BR" sz="1100" b="1" dirty="0"/>
                <a:t>,0 % Imposto de Importação </a:t>
              </a:r>
            </a:p>
          </p:txBody>
        </p:sp>
      </p:grpSp>
      <p:sp>
        <p:nvSpPr>
          <p:cNvPr id="26" name="CaixaDeTexto 25">
            <a:extLst>
              <a:ext uri="{FF2B5EF4-FFF2-40B4-BE49-F238E27FC236}">
                <a16:creationId xmlns:a16="http://schemas.microsoft.com/office/drawing/2014/main" id="{7BFD0AFD-09C3-7095-1F95-E6323838F1CF}"/>
              </a:ext>
            </a:extLst>
          </p:cNvPr>
          <p:cNvSpPr txBox="1"/>
          <p:nvPr/>
        </p:nvSpPr>
        <p:spPr>
          <a:xfrm>
            <a:off x="2523862" y="5657293"/>
            <a:ext cx="745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b="1" dirty="0"/>
              <a:t>Carga Tributária Média por Família de NCM – Produtos Importados   </a:t>
            </a:r>
          </a:p>
        </p:txBody>
      </p:sp>
      <p:grpSp>
        <p:nvGrpSpPr>
          <p:cNvPr id="30" name="Agrupar 29">
            <a:extLst>
              <a:ext uri="{FF2B5EF4-FFF2-40B4-BE49-F238E27FC236}">
                <a16:creationId xmlns:a16="http://schemas.microsoft.com/office/drawing/2014/main" id="{38D0A8D4-5A1B-5381-2E57-5B0695C3B2B8}"/>
              </a:ext>
            </a:extLst>
          </p:cNvPr>
          <p:cNvGrpSpPr/>
          <p:nvPr/>
        </p:nvGrpSpPr>
        <p:grpSpPr>
          <a:xfrm>
            <a:off x="562769" y="6195014"/>
            <a:ext cx="2047772" cy="261610"/>
            <a:chOff x="9760611" y="1993062"/>
            <a:chExt cx="2047772" cy="261610"/>
          </a:xfrm>
        </p:grpSpPr>
        <p:sp>
          <p:nvSpPr>
            <p:cNvPr id="28" name="CaixaDeTexto 27">
              <a:extLst>
                <a:ext uri="{FF2B5EF4-FFF2-40B4-BE49-F238E27FC236}">
                  <a16:creationId xmlns:a16="http://schemas.microsoft.com/office/drawing/2014/main" id="{C28F4B44-574D-7E7E-C1ED-0E03E5025D32}"/>
                </a:ext>
              </a:extLst>
            </p:cNvPr>
            <p:cNvSpPr txBox="1"/>
            <p:nvPr/>
          </p:nvSpPr>
          <p:spPr>
            <a:xfrm>
              <a:off x="9972675" y="1993062"/>
              <a:ext cx="183570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100" dirty="0"/>
                <a:t>Média Aritmética: 99,6 %</a:t>
              </a:r>
            </a:p>
          </p:txBody>
        </p:sp>
        <p:sp>
          <p:nvSpPr>
            <p:cNvPr id="29" name="CaixaDeTexto 28">
              <a:extLst>
                <a:ext uri="{FF2B5EF4-FFF2-40B4-BE49-F238E27FC236}">
                  <a16:creationId xmlns:a16="http://schemas.microsoft.com/office/drawing/2014/main" id="{703F39AD-6B46-8F0B-3760-48E2BD5E1F20}"/>
                </a:ext>
              </a:extLst>
            </p:cNvPr>
            <p:cNvSpPr txBox="1"/>
            <p:nvPr/>
          </p:nvSpPr>
          <p:spPr>
            <a:xfrm flipV="1">
              <a:off x="9760611" y="2092242"/>
              <a:ext cx="212064" cy="45719"/>
            </a:xfrm>
            <a:prstGeom prst="rect">
              <a:avLst/>
            </a:prstGeom>
            <a:solidFill>
              <a:srgbClr val="0070C0"/>
            </a:solidFill>
          </p:spPr>
          <p:txBody>
            <a:bodyPr wrap="square" rtlCol="0">
              <a:spAutoFit/>
            </a:bodyPr>
            <a:lstStyle/>
            <a:p>
              <a:endParaRPr lang="pt-BR" dirty="0"/>
            </a:p>
          </p:txBody>
        </p:sp>
      </p:grpSp>
      <p:grpSp>
        <p:nvGrpSpPr>
          <p:cNvPr id="2" name="Agrupar 1">
            <a:extLst>
              <a:ext uri="{FF2B5EF4-FFF2-40B4-BE49-F238E27FC236}">
                <a16:creationId xmlns:a16="http://schemas.microsoft.com/office/drawing/2014/main" id="{AFEA88A5-11D1-AD97-A91A-0951E612A238}"/>
              </a:ext>
            </a:extLst>
          </p:cNvPr>
          <p:cNvGrpSpPr/>
          <p:nvPr/>
        </p:nvGrpSpPr>
        <p:grpSpPr>
          <a:xfrm>
            <a:off x="616204" y="1768630"/>
            <a:ext cx="10959591" cy="3749917"/>
            <a:chOff x="554297" y="2057399"/>
            <a:chExt cx="10959591" cy="3749917"/>
          </a:xfrm>
        </p:grpSpPr>
        <p:graphicFrame>
          <p:nvGraphicFramePr>
            <p:cNvPr id="5" name="Gráfico 4">
              <a:extLst>
                <a:ext uri="{FF2B5EF4-FFF2-40B4-BE49-F238E27FC236}">
                  <a16:creationId xmlns:a16="http://schemas.microsoft.com/office/drawing/2014/main" id="{F499387C-AD92-2993-981D-B8550E424BED}"/>
                </a:ext>
              </a:extLst>
            </p:cNvPr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161433973"/>
                </p:ext>
              </p:extLst>
            </p:nvPr>
          </p:nvGraphicFramePr>
          <p:xfrm>
            <a:off x="596765" y="2057399"/>
            <a:ext cx="10261735" cy="374991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grpSp>
          <p:nvGrpSpPr>
            <p:cNvPr id="7" name="Agrupar 6">
              <a:extLst>
                <a:ext uri="{FF2B5EF4-FFF2-40B4-BE49-F238E27FC236}">
                  <a16:creationId xmlns:a16="http://schemas.microsoft.com/office/drawing/2014/main" id="{E048AFF4-7217-4728-5368-5BD4EA98EFC2}"/>
                </a:ext>
              </a:extLst>
            </p:cNvPr>
            <p:cNvGrpSpPr/>
            <p:nvPr/>
          </p:nvGrpSpPr>
          <p:grpSpPr>
            <a:xfrm>
              <a:off x="554297" y="2753604"/>
              <a:ext cx="10959591" cy="2148347"/>
              <a:chOff x="809625" y="2925911"/>
              <a:chExt cx="10959591" cy="2148347"/>
            </a:xfrm>
          </p:grpSpPr>
          <p:cxnSp>
            <p:nvCxnSpPr>
              <p:cNvPr id="10" name="Conector reto 9">
                <a:extLst>
                  <a:ext uri="{FF2B5EF4-FFF2-40B4-BE49-F238E27FC236}">
                    <a16:creationId xmlns:a16="http://schemas.microsoft.com/office/drawing/2014/main" id="{F3E1CCF8-5A45-F52E-318D-718045DDC119}"/>
                  </a:ext>
                </a:extLst>
              </p:cNvPr>
              <p:cNvCxnSpPr/>
              <p:nvPr/>
            </p:nvCxnSpPr>
            <p:spPr>
              <a:xfrm>
                <a:off x="809625" y="3058854"/>
                <a:ext cx="10119995" cy="0"/>
              </a:xfrm>
              <a:prstGeom prst="line">
                <a:avLst/>
              </a:prstGeom>
              <a:ln w="28575">
                <a:solidFill>
                  <a:schemeClr val="accent2">
                    <a:lumMod val="40000"/>
                    <a:lumOff val="6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CaixaDeTexto 15">
                <a:extLst>
                  <a:ext uri="{FF2B5EF4-FFF2-40B4-BE49-F238E27FC236}">
                    <a16:creationId xmlns:a16="http://schemas.microsoft.com/office/drawing/2014/main" id="{A6D57C89-13B5-7456-2979-313ADF03DB0C}"/>
                  </a:ext>
                </a:extLst>
              </p:cNvPr>
              <p:cNvSpPr txBox="1"/>
              <p:nvPr/>
            </p:nvSpPr>
            <p:spPr>
              <a:xfrm>
                <a:off x="11051843" y="2925911"/>
                <a:ext cx="707848" cy="246221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1000" dirty="0">
                    <a:solidFill>
                      <a:schemeClr val="bg1"/>
                    </a:solidFill>
                  </a:rPr>
                  <a:t>109,9 %</a:t>
                </a:r>
              </a:p>
            </p:txBody>
          </p:sp>
          <p:cxnSp>
            <p:nvCxnSpPr>
              <p:cNvPr id="24" name="Conector reto 23">
                <a:extLst>
                  <a:ext uri="{FF2B5EF4-FFF2-40B4-BE49-F238E27FC236}">
                    <a16:creationId xmlns:a16="http://schemas.microsoft.com/office/drawing/2014/main" id="{BD817E61-2279-AD0E-34CD-3D37B314CE77}"/>
                  </a:ext>
                </a:extLst>
              </p:cNvPr>
              <p:cNvCxnSpPr/>
              <p:nvPr/>
            </p:nvCxnSpPr>
            <p:spPr>
              <a:xfrm>
                <a:off x="810162" y="4436798"/>
                <a:ext cx="10119995" cy="0"/>
              </a:xfrm>
              <a:prstGeom prst="line">
                <a:avLst/>
              </a:prstGeom>
              <a:ln w="28575">
                <a:solidFill>
                  <a:srgbClr val="FFC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CaixaDeTexto 26">
                <a:extLst>
                  <a:ext uri="{FF2B5EF4-FFF2-40B4-BE49-F238E27FC236}">
                    <a16:creationId xmlns:a16="http://schemas.microsoft.com/office/drawing/2014/main" id="{0F58D8BE-ABFF-9AEA-85FE-B57AAEC2BDFF}"/>
                  </a:ext>
                </a:extLst>
              </p:cNvPr>
              <p:cNvSpPr txBox="1"/>
              <p:nvPr/>
            </p:nvSpPr>
            <p:spPr>
              <a:xfrm>
                <a:off x="11051843" y="4313687"/>
                <a:ext cx="707848" cy="246221"/>
              </a:xfrm>
              <a:prstGeom prst="rect">
                <a:avLst/>
              </a:prstGeom>
              <a:solidFill>
                <a:srgbClr val="FFC000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1000" dirty="0">
                    <a:solidFill>
                      <a:schemeClr val="bg1"/>
                    </a:solidFill>
                  </a:rPr>
                  <a:t>44,5 %</a:t>
                </a:r>
              </a:p>
            </p:txBody>
          </p:sp>
          <p:cxnSp>
            <p:nvCxnSpPr>
              <p:cNvPr id="32" name="Conector reto 31">
                <a:extLst>
                  <a:ext uri="{FF2B5EF4-FFF2-40B4-BE49-F238E27FC236}">
                    <a16:creationId xmlns:a16="http://schemas.microsoft.com/office/drawing/2014/main" id="{96B44AC5-687D-F1E3-B3BF-4AAD89A6FB66}"/>
                  </a:ext>
                </a:extLst>
              </p:cNvPr>
              <p:cNvCxnSpPr/>
              <p:nvPr/>
            </p:nvCxnSpPr>
            <p:spPr>
              <a:xfrm>
                <a:off x="810161" y="4951148"/>
                <a:ext cx="10119995" cy="0"/>
              </a:xfrm>
              <a:prstGeom prst="line">
                <a:avLst/>
              </a:prstGeom>
              <a:ln w="28575">
                <a:solidFill>
                  <a:srgbClr val="00B05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CaixaDeTexto 32">
                <a:extLst>
                  <a:ext uri="{FF2B5EF4-FFF2-40B4-BE49-F238E27FC236}">
                    <a16:creationId xmlns:a16="http://schemas.microsoft.com/office/drawing/2014/main" id="{528C927C-C2BA-FE1C-F0FB-060A4C451437}"/>
                  </a:ext>
                </a:extLst>
              </p:cNvPr>
              <p:cNvSpPr txBox="1"/>
              <p:nvPr/>
            </p:nvSpPr>
            <p:spPr>
              <a:xfrm>
                <a:off x="11061368" y="4828037"/>
                <a:ext cx="707848" cy="246221"/>
              </a:xfrm>
              <a:prstGeom prst="rect">
                <a:avLst/>
              </a:prstGeom>
              <a:solidFill>
                <a:srgbClr val="00B050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pt-BR" sz="1000" dirty="0">
                    <a:solidFill>
                      <a:schemeClr val="bg1"/>
                    </a:solidFill>
                  </a:rPr>
                  <a:t>20,4 %</a:t>
                </a:r>
              </a:p>
            </p:txBody>
          </p:sp>
        </p:grpSp>
      </p:grpSp>
      <p:pic>
        <p:nvPicPr>
          <p:cNvPr id="8" name="Imagem 7" descr="Logotipo, nome da empresa&#10;&#10;Descrição gerada automaticamente">
            <a:extLst>
              <a:ext uri="{FF2B5EF4-FFF2-40B4-BE49-F238E27FC236}">
                <a16:creationId xmlns:a16="http://schemas.microsoft.com/office/drawing/2014/main" id="{FA5271B3-C059-47AF-5E27-7F06173D9D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506" y="67446"/>
            <a:ext cx="981744" cy="865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Google Shape;905;p4">
            <a:extLst>
              <a:ext uri="{FF2B5EF4-FFF2-40B4-BE49-F238E27FC236}">
                <a16:creationId xmlns:a16="http://schemas.microsoft.com/office/drawing/2014/main" id="{9398ECC5-01F0-4A38-443C-5AC5411977B5}"/>
              </a:ext>
            </a:extLst>
          </p:cNvPr>
          <p:cNvSpPr/>
          <p:nvPr/>
        </p:nvSpPr>
        <p:spPr>
          <a:xfrm>
            <a:off x="11588496" y="6467431"/>
            <a:ext cx="307094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16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982454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id="{80322A1E-9BBF-F244-3D5A-2E3FB4839F2D}"/>
              </a:ext>
            </a:extLst>
          </p:cNvPr>
          <p:cNvSpPr/>
          <p:nvPr/>
        </p:nvSpPr>
        <p:spPr>
          <a:xfrm>
            <a:off x="1" y="1124142"/>
            <a:ext cx="12192000" cy="5833247"/>
          </a:xfrm>
          <a:prstGeom prst="rect">
            <a:avLst/>
          </a:prstGeom>
          <a:solidFill>
            <a:srgbClr val="0562AF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758" dirty="0"/>
          </a:p>
        </p:txBody>
      </p:sp>
      <p:pic>
        <p:nvPicPr>
          <p:cNvPr id="1199" name="Google Shape;1199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" y="0"/>
            <a:ext cx="12208159" cy="1223815"/>
          </a:xfrm>
          <a:prstGeom prst="rect">
            <a:avLst/>
          </a:prstGeom>
          <a:noFill/>
          <a:ln>
            <a:noFill/>
          </a:ln>
        </p:spPr>
      </p:pic>
      <p:sp>
        <p:nvSpPr>
          <p:cNvPr id="1208" name="CaixaDeTexto 1207">
            <a:extLst>
              <a:ext uri="{FF2B5EF4-FFF2-40B4-BE49-F238E27FC236}">
                <a16:creationId xmlns:a16="http://schemas.microsoft.com/office/drawing/2014/main" id="{1A3CB51F-065E-2F32-264C-67107F765C05}"/>
              </a:ext>
            </a:extLst>
          </p:cNvPr>
          <p:cNvSpPr txBox="1"/>
          <p:nvPr/>
        </p:nvSpPr>
        <p:spPr>
          <a:xfrm>
            <a:off x="1569796" y="255815"/>
            <a:ext cx="1056171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pt-BR" sz="3200" b="1" kern="0" dirty="0">
                <a:solidFill>
                  <a:srgbClr val="FFFFFF"/>
                </a:solidFill>
                <a:latin typeface="Georgia"/>
                <a:cs typeface="Arial"/>
                <a:sym typeface="Georgia"/>
              </a:rPr>
              <a:t>Ranking de Importações Brasileiras</a:t>
            </a:r>
            <a:endParaRPr kumimoji="0" lang="pt-BR" sz="3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920A428D-5D4A-E260-7875-3FC41800A10F}"/>
              </a:ext>
            </a:extLst>
          </p:cNvPr>
          <p:cNvGrpSpPr/>
          <p:nvPr/>
        </p:nvGrpSpPr>
        <p:grpSpPr>
          <a:xfrm>
            <a:off x="1477072" y="4189810"/>
            <a:ext cx="3886200" cy="2006332"/>
            <a:chOff x="8041906" y="2710006"/>
            <a:chExt cx="3692064" cy="2079089"/>
          </a:xfrm>
        </p:grpSpPr>
        <p:graphicFrame>
          <p:nvGraphicFramePr>
            <p:cNvPr id="6" name="Gráfico 5">
              <a:extLst>
                <a:ext uri="{FF2B5EF4-FFF2-40B4-BE49-F238E27FC236}">
                  <a16:creationId xmlns:a16="http://schemas.microsoft.com/office/drawing/2014/main" id="{E612FDEA-7390-03C8-3F28-AE92F7299485}"/>
                </a:ext>
              </a:extLst>
            </p:cNvPr>
            <p:cNvGraphicFramePr>
              <a:graphicFrameLocks/>
            </p:cNvGraphicFramePr>
            <p:nvPr/>
          </p:nvGraphicFramePr>
          <p:xfrm>
            <a:off x="8041906" y="2710006"/>
            <a:ext cx="3692064" cy="207908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7" name="CaixaDeTexto 6">
              <a:extLst>
                <a:ext uri="{FF2B5EF4-FFF2-40B4-BE49-F238E27FC236}">
                  <a16:creationId xmlns:a16="http://schemas.microsoft.com/office/drawing/2014/main" id="{2F0CFB83-3E9C-96E8-6B05-3A0055D7D695}"/>
                </a:ext>
              </a:extLst>
            </p:cNvPr>
            <p:cNvSpPr txBox="1"/>
            <p:nvPr/>
          </p:nvSpPr>
          <p:spPr>
            <a:xfrm>
              <a:off x="11014140" y="2823015"/>
              <a:ext cx="538405" cy="3181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500" dirty="0">
                  <a:latin typeface="Aptos Black" panose="020B0004020202020204" pitchFamily="34" charset="0"/>
                </a:rPr>
                <a:t>1º</a:t>
              </a:r>
            </a:p>
          </p:txBody>
        </p:sp>
        <p:sp>
          <p:nvSpPr>
            <p:cNvPr id="8" name="CaixaDeTexto 7">
              <a:extLst>
                <a:ext uri="{FF2B5EF4-FFF2-40B4-BE49-F238E27FC236}">
                  <a16:creationId xmlns:a16="http://schemas.microsoft.com/office/drawing/2014/main" id="{C4328DC5-ACD1-BFF0-10E4-F7B737E28663}"/>
                </a:ext>
              </a:extLst>
            </p:cNvPr>
            <p:cNvSpPr txBox="1"/>
            <p:nvPr/>
          </p:nvSpPr>
          <p:spPr>
            <a:xfrm>
              <a:off x="10530113" y="2972527"/>
              <a:ext cx="435428" cy="3077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dirty="0">
                  <a:latin typeface="Aptos Black" panose="020B0004020202020204" pitchFamily="34" charset="0"/>
                </a:rPr>
                <a:t>2º</a:t>
              </a:r>
            </a:p>
          </p:txBody>
        </p:sp>
        <p:sp>
          <p:nvSpPr>
            <p:cNvPr id="9" name="CaixaDeTexto 8">
              <a:extLst>
                <a:ext uri="{FF2B5EF4-FFF2-40B4-BE49-F238E27FC236}">
                  <a16:creationId xmlns:a16="http://schemas.microsoft.com/office/drawing/2014/main" id="{EDF264B4-9094-CB3F-D3D8-EC3BEDD1D163}"/>
                </a:ext>
              </a:extLst>
            </p:cNvPr>
            <p:cNvSpPr txBox="1"/>
            <p:nvPr/>
          </p:nvSpPr>
          <p:spPr>
            <a:xfrm>
              <a:off x="9959050" y="2972527"/>
              <a:ext cx="435428" cy="3077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dirty="0">
                  <a:latin typeface="Aptos Black" panose="020B0004020202020204" pitchFamily="34" charset="0"/>
                </a:rPr>
                <a:t>2º</a:t>
              </a:r>
            </a:p>
          </p:txBody>
        </p:sp>
        <p:sp>
          <p:nvSpPr>
            <p:cNvPr id="10" name="CaixaDeTexto 9">
              <a:extLst>
                <a:ext uri="{FF2B5EF4-FFF2-40B4-BE49-F238E27FC236}">
                  <a16:creationId xmlns:a16="http://schemas.microsoft.com/office/drawing/2014/main" id="{CEA6057B-9B57-5228-5DF3-0DD076671277}"/>
                </a:ext>
              </a:extLst>
            </p:cNvPr>
            <p:cNvSpPr txBox="1"/>
            <p:nvPr/>
          </p:nvSpPr>
          <p:spPr>
            <a:xfrm>
              <a:off x="9419266" y="2972527"/>
              <a:ext cx="435428" cy="3077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dirty="0">
                  <a:latin typeface="Aptos Black" panose="020B0004020202020204" pitchFamily="34" charset="0"/>
                </a:rPr>
                <a:t>2º</a:t>
              </a:r>
            </a:p>
          </p:txBody>
        </p:sp>
        <p:sp>
          <p:nvSpPr>
            <p:cNvPr id="11" name="CaixaDeTexto 10">
              <a:extLst>
                <a:ext uri="{FF2B5EF4-FFF2-40B4-BE49-F238E27FC236}">
                  <a16:creationId xmlns:a16="http://schemas.microsoft.com/office/drawing/2014/main" id="{FE24F09C-FCBD-7BC2-C3DE-531BBF5D6A92}"/>
                </a:ext>
              </a:extLst>
            </p:cNvPr>
            <p:cNvSpPr txBox="1"/>
            <p:nvPr/>
          </p:nvSpPr>
          <p:spPr>
            <a:xfrm>
              <a:off x="8883984" y="3279186"/>
              <a:ext cx="435428" cy="3077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dirty="0">
                  <a:latin typeface="Aptos Black" panose="020B0004020202020204" pitchFamily="34" charset="0"/>
                </a:rPr>
                <a:t>5º</a:t>
              </a:r>
            </a:p>
          </p:txBody>
        </p:sp>
        <p:sp>
          <p:nvSpPr>
            <p:cNvPr id="12" name="CaixaDeTexto 11">
              <a:extLst>
                <a:ext uri="{FF2B5EF4-FFF2-40B4-BE49-F238E27FC236}">
                  <a16:creationId xmlns:a16="http://schemas.microsoft.com/office/drawing/2014/main" id="{D3E1BEC0-A192-7334-198C-0EFD8190BBE9}"/>
                </a:ext>
              </a:extLst>
            </p:cNvPr>
            <p:cNvSpPr txBox="1"/>
            <p:nvPr/>
          </p:nvSpPr>
          <p:spPr>
            <a:xfrm>
              <a:off x="8258353" y="3565926"/>
              <a:ext cx="582086" cy="307778"/>
            </a:xfrm>
            <a:prstGeom prst="rect">
              <a:avLst/>
            </a:prstGeom>
            <a:noFill/>
            <a:effectLst>
              <a:reflection stA="45000" endPos="0" dist="12700" dir="5400000" sy="-100000" algn="bl" rotWithShape="0"/>
            </a:effectLst>
            <a:scene3d>
              <a:camera prst="orthographicFront"/>
              <a:lightRig rig="threePt" dir="t"/>
            </a:scene3d>
            <a:sp3d prstMaterial="dkEdge"/>
          </p:spPr>
          <p:txBody>
            <a:bodyPr wrap="square" rtlCol="0">
              <a:spAutoFit/>
            </a:bodyPr>
            <a:lstStyle/>
            <a:p>
              <a:pPr algn="ctr"/>
              <a:r>
                <a:rPr lang="pt-BR" sz="1400" dirty="0">
                  <a:latin typeface="Aptos Black" panose="020B0004020202020204" pitchFamily="34" charset="0"/>
                </a:rPr>
                <a:t>10º</a:t>
              </a:r>
            </a:p>
          </p:txBody>
        </p:sp>
      </p:grpSp>
      <p:pic>
        <p:nvPicPr>
          <p:cNvPr id="14" name="Picture 8">
            <a:extLst>
              <a:ext uri="{FF2B5EF4-FFF2-40B4-BE49-F238E27FC236}">
                <a16:creationId xmlns:a16="http://schemas.microsoft.com/office/drawing/2014/main" id="{DB485215-2D94-4A67-870C-F646870F47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flipH="1">
            <a:off x="5824552" y="3566070"/>
            <a:ext cx="3150180" cy="3391319"/>
          </a:xfrm>
          <a:prstGeom prst="rect">
            <a:avLst/>
          </a:prstGeom>
        </p:spPr>
      </p:pic>
      <p:sp>
        <p:nvSpPr>
          <p:cNvPr id="20" name="CaixaDeTexto 19">
            <a:extLst>
              <a:ext uri="{FF2B5EF4-FFF2-40B4-BE49-F238E27FC236}">
                <a16:creationId xmlns:a16="http://schemas.microsoft.com/office/drawing/2014/main" id="{048085C9-126E-7D59-0618-738909874407}"/>
              </a:ext>
            </a:extLst>
          </p:cNvPr>
          <p:cNvSpPr txBox="1"/>
          <p:nvPr/>
        </p:nvSpPr>
        <p:spPr>
          <a:xfrm>
            <a:off x="297357" y="1372700"/>
            <a:ext cx="6514260" cy="20928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72000">
              <a:lnSpc>
                <a:spcPts val="2600"/>
              </a:lnSpc>
              <a:spcBef>
                <a:spcPts val="100"/>
              </a:spcBef>
              <a:spcAft>
                <a:spcPts val="800"/>
              </a:spcAft>
            </a:pPr>
            <a:r>
              <a:rPr kumimoji="0" lang="pt-BR" sz="2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cs typeface="Arial"/>
                <a:sym typeface="Georgia"/>
              </a:rPr>
              <a:t>No primeiro semestre de 2023 </a:t>
            </a:r>
            <a:r>
              <a:rPr kumimoji="0" lang="pt-BR" sz="2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ptos" panose="020B0004020202020204" pitchFamily="34" charset="0"/>
                <a:cs typeface="Arial"/>
                <a:sym typeface="Georgia"/>
              </a:rPr>
              <a:t>(1S23),                          </a:t>
            </a:r>
            <a:r>
              <a:rPr kumimoji="0" lang="pt-BR" sz="2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cs typeface="Arial"/>
                <a:sym typeface="Georgia"/>
              </a:rPr>
              <a:t>as </a:t>
            </a:r>
            <a:r>
              <a:rPr kumimoji="0" lang="pt-BR" sz="2200" b="1" i="0" u="none" strike="noStrike" kern="0" cap="none" spc="0" normalizeH="0" baseline="0" noProof="0" dirty="0">
                <a:ln>
                  <a:noFill/>
                </a:ln>
                <a:solidFill>
                  <a:schemeClr val="accent2">
                    <a:lumMod val="60000"/>
                    <a:lumOff val="40000"/>
                  </a:schemeClr>
                </a:solidFill>
                <a:effectLst/>
                <a:uLnTx/>
                <a:uFillTx/>
                <a:latin typeface="Georgia"/>
                <a:cs typeface="Arial"/>
                <a:sym typeface="Georgia"/>
              </a:rPr>
              <a:t>importações em pequeno valor via encomendas internacionais               </a:t>
            </a:r>
            <a:r>
              <a:rPr kumimoji="0" lang="pt-BR" sz="2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cs typeface="Arial"/>
                <a:sym typeface="Georgia"/>
              </a:rPr>
              <a:t>passaram a ocupar o </a:t>
            </a:r>
            <a:r>
              <a:rPr kumimoji="0" lang="pt-BR" sz="22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/>
                <a:cs typeface="Arial"/>
                <a:sym typeface="Georgia"/>
              </a:rPr>
              <a:t>1º lugar (em valor) </a:t>
            </a:r>
            <a:r>
              <a:rPr kumimoji="0" lang="pt-BR" sz="22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cs typeface="Arial"/>
                <a:sym typeface="Georgia"/>
              </a:rPr>
              <a:t>dentre as categorias de importações brasileira</a:t>
            </a:r>
            <a:r>
              <a:rPr lang="pt-BR" sz="2200" b="1" kern="0" dirty="0">
                <a:solidFill>
                  <a:srgbClr val="FFFFFF"/>
                </a:solidFill>
                <a:latin typeface="Georgia"/>
                <a:cs typeface="Arial"/>
                <a:sym typeface="Georgia"/>
              </a:rPr>
              <a:t>s.</a:t>
            </a:r>
            <a:endParaRPr lang="pt-BR" sz="2200" dirty="0"/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id="{EEC01A85-5979-9AC9-CE88-9A0BDA02EB18}"/>
              </a:ext>
            </a:extLst>
          </p:cNvPr>
          <p:cNvSpPr txBox="1"/>
          <p:nvPr/>
        </p:nvSpPr>
        <p:spPr>
          <a:xfrm>
            <a:off x="927652" y="3639152"/>
            <a:ext cx="542013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 sz="1400" b="0" i="0" u="none" strike="noStrike" kern="1200" cap="none" spc="5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r>
              <a:rPr lang="pt-BR" sz="1400" b="1" spc="50" dirty="0">
                <a:solidFill>
                  <a:prstClr val="white">
                    <a:lumMod val="95000"/>
                  </a:prstClr>
                </a:solidFill>
              </a:rPr>
              <a:t>Posição das importações via encomendas internacionais no ranking de importações por NCM no Brasil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130D5DFD-39F0-D43E-5F7A-6B83DDD5084D}"/>
              </a:ext>
            </a:extLst>
          </p:cNvPr>
          <p:cNvSpPr txBox="1"/>
          <p:nvPr/>
        </p:nvSpPr>
        <p:spPr>
          <a:xfrm>
            <a:off x="1797805" y="4413045"/>
            <a:ext cx="1061791" cy="2000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700" spc="50" dirty="0">
                <a:solidFill>
                  <a:prstClr val="white">
                    <a:lumMod val="95000"/>
                  </a:prstClr>
                </a:solidFill>
                <a:latin typeface="Calibri" panose="020F0502020204030204"/>
              </a:rPr>
              <a:t>(Valores FOB)</a:t>
            </a:r>
            <a:endParaRPr lang="pt-BR" sz="1400" dirty="0"/>
          </a:p>
        </p:txBody>
      </p: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A51C5635-2F85-7C30-BD5A-4BF62243053C}"/>
              </a:ext>
            </a:extLst>
          </p:cNvPr>
          <p:cNvSpPr txBox="1"/>
          <p:nvPr/>
        </p:nvSpPr>
        <p:spPr>
          <a:xfrm>
            <a:off x="448504" y="6345026"/>
            <a:ext cx="6226628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050" dirty="0"/>
              <a:t>Fonte: </a:t>
            </a:r>
            <a:r>
              <a:rPr lang="pt-BR" sz="1050" dirty="0" err="1"/>
              <a:t>Comexstat</a:t>
            </a:r>
            <a:r>
              <a:rPr lang="pt-BR" sz="1050" dirty="0"/>
              <a:t>: Importações brasileiras por NCM  |  *Banco Central do Brasil  |  </a:t>
            </a:r>
            <a:r>
              <a:rPr lang="pt-BR" sz="105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comexstat.mdic.gov.br/</a:t>
            </a:r>
            <a:r>
              <a:rPr lang="pt-BR" sz="1050" dirty="0" err="1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pt</a:t>
            </a:r>
            <a:r>
              <a:rPr lang="pt-BR" sz="1050" dirty="0"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geral/90881</a:t>
            </a:r>
            <a:r>
              <a:rPr lang="pt-BR" sz="1050" dirty="0"/>
              <a:t>. Acessado em 02 de outubro de 2023.</a:t>
            </a:r>
          </a:p>
        </p:txBody>
      </p:sp>
      <p:graphicFrame>
        <p:nvGraphicFramePr>
          <p:cNvPr id="3" name="Tabela 4">
            <a:extLst>
              <a:ext uri="{FF2B5EF4-FFF2-40B4-BE49-F238E27FC236}">
                <a16:creationId xmlns:a16="http://schemas.microsoft.com/office/drawing/2014/main" id="{ECBDFC19-8ECD-422B-B2C2-AD26E66CB6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8213156"/>
              </p:ext>
            </p:extLst>
          </p:nvPr>
        </p:nvGraphicFramePr>
        <p:xfrm>
          <a:off x="7820171" y="1526279"/>
          <a:ext cx="3965890" cy="29261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9313">
                  <a:extLst>
                    <a:ext uri="{9D8B030D-6E8A-4147-A177-3AD203B41FA5}">
                      <a16:colId xmlns:a16="http://schemas.microsoft.com/office/drawing/2014/main" val="1081630785"/>
                    </a:ext>
                  </a:extLst>
                </a:gridCol>
                <a:gridCol w="2751966">
                  <a:extLst>
                    <a:ext uri="{9D8B030D-6E8A-4147-A177-3AD203B41FA5}">
                      <a16:colId xmlns:a16="http://schemas.microsoft.com/office/drawing/2014/main" val="708779847"/>
                    </a:ext>
                  </a:extLst>
                </a:gridCol>
                <a:gridCol w="864611">
                  <a:extLst>
                    <a:ext uri="{9D8B030D-6E8A-4147-A177-3AD203B41FA5}">
                      <a16:colId xmlns:a16="http://schemas.microsoft.com/office/drawing/2014/main" val="2313858855"/>
                    </a:ext>
                  </a:extLst>
                </a:gridCol>
              </a:tblGrid>
              <a:tr h="518826">
                <a:tc gridSpan="2">
                  <a:txBody>
                    <a:bodyPr/>
                    <a:lstStyle/>
                    <a:p>
                      <a:r>
                        <a:rPr lang="pt-BR" sz="1200">
                          <a:solidFill>
                            <a:schemeClr val="bg1"/>
                          </a:solidFill>
                        </a:rPr>
                        <a:t>Categoria </a:t>
                      </a:r>
                      <a:r>
                        <a:rPr lang="pt-BR" sz="1200" dirty="0">
                          <a:solidFill>
                            <a:schemeClr val="bg1"/>
                          </a:solidFill>
                        </a:rPr>
                        <a:t>(NCM)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r>
                        <a:rPr lang="pt-BR" sz="1200" dirty="0">
                          <a:solidFill>
                            <a:schemeClr val="bg1"/>
                          </a:solidFill>
                        </a:rPr>
                        <a:t>Categoria (NCM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400" dirty="0">
                          <a:solidFill>
                            <a:schemeClr val="bg1"/>
                          </a:solidFill>
                        </a:rPr>
                        <a:t>1S23</a:t>
                      </a:r>
                    </a:p>
                    <a:p>
                      <a:pPr algn="ctr"/>
                      <a:r>
                        <a:rPr lang="pt-BR" sz="900" dirty="0">
                          <a:solidFill>
                            <a:schemeClr val="bg1"/>
                          </a:solidFill>
                        </a:rPr>
                        <a:t>(US$)*</a:t>
                      </a:r>
                      <a:endParaRPr lang="pt-BR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87308518"/>
                  </a:ext>
                </a:extLst>
              </a:tr>
              <a:tr h="730560">
                <a:tc>
                  <a:txBody>
                    <a:bodyPr/>
                    <a:lstStyle/>
                    <a:p>
                      <a:pPr marR="0" algn="ctr" rtl="0" fontAlgn="b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pt-BR" sz="1400" b="1" u="none" strike="noStrike" cap="none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  <a:sym typeface="Arial"/>
                        </a:rPr>
                        <a:t>1</a:t>
                      </a:r>
                      <a:endParaRPr lang="pt-BR" sz="1400" b="1" i="0" u="none" strike="noStrike" cap="none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1" u="none" strike="noStrike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 Importações de pequeno valor </a:t>
                      </a:r>
                    </a:p>
                    <a:p>
                      <a:pPr algn="l" fontAlgn="b"/>
                      <a:r>
                        <a:rPr lang="pt-BR" sz="1400" b="1" u="none" strike="noStrike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 via encomendas internacionais</a:t>
                      </a:r>
                      <a:endParaRPr lang="pt-BR" sz="1400" b="1" i="0" u="none" strike="noStrike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u="none" strike="noStrike" dirty="0">
                          <a:solidFill>
                            <a:schemeClr val="accent3">
                              <a:lumMod val="50000"/>
                            </a:schemeClr>
                          </a:solidFill>
                          <a:effectLst/>
                        </a:rPr>
                        <a:t> $   5.078 </a:t>
                      </a:r>
                      <a:endParaRPr lang="pt-BR" sz="1400" b="1" i="0" u="none" strike="noStrike" dirty="0">
                        <a:solidFill>
                          <a:schemeClr val="accent3">
                            <a:lumMod val="50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670373548"/>
                  </a:ext>
                </a:extLst>
              </a:tr>
              <a:tr h="4191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2</a:t>
                      </a:r>
                      <a:endParaRPr lang="pt-BR" sz="1200" b="1" i="0" u="none" strike="noStrike" cap="non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  Óleos brutos de petróleo</a:t>
                      </a:r>
                      <a:endParaRPr lang="pt-BR" sz="1200" b="1" i="0" u="none" strike="noStrike" cap="non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 $   4.627 </a:t>
                      </a:r>
                      <a:endParaRPr lang="pt-BR" sz="1200" b="1" i="0" u="none" strike="noStrike" cap="non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31050607"/>
                  </a:ext>
                </a:extLst>
              </a:tr>
              <a:tr h="4191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3</a:t>
                      </a:r>
                      <a:endParaRPr lang="pt-BR" sz="1200" b="1" i="0" u="none" strike="noStrike" cap="non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  Gasóleo (óleo diesel)</a:t>
                      </a:r>
                      <a:endParaRPr lang="pt-BR" sz="1200" b="1" i="0" u="none" strike="noStrike" cap="non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 $   4.409 </a:t>
                      </a:r>
                      <a:endParaRPr lang="pt-BR" sz="1200" b="1" i="0" u="none" strike="noStrike" cap="non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95486547"/>
                  </a:ext>
                </a:extLst>
              </a:tr>
              <a:tr h="4191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4</a:t>
                      </a:r>
                      <a:endParaRPr lang="pt-BR" sz="1200" b="1" i="0" u="none" strike="noStrike" cap="non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  Outros cloretos de potássio</a:t>
                      </a:r>
                      <a:endParaRPr lang="pt-BR" sz="1200" b="1" i="0" u="none" strike="noStrike" cap="non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 $   2.557 </a:t>
                      </a:r>
                      <a:endParaRPr lang="pt-BR" sz="1200" b="1" i="0" u="none" strike="noStrike" cap="non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703064194"/>
                  </a:ext>
                </a:extLst>
              </a:tr>
              <a:tr h="41918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5</a:t>
                      </a:r>
                      <a:endParaRPr lang="pt-BR" sz="1200" b="1" i="0" u="none" strike="noStrike" cap="non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2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  Hulha betuminosa, não aglomerada</a:t>
                      </a:r>
                      <a:endParaRPr lang="pt-BR" sz="1200" b="1" i="0" u="none" strike="noStrike" cap="non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200" b="1" u="none" strike="noStrike" cap="none" dirty="0">
                          <a:solidFill>
                            <a:schemeClr val="bg1"/>
                          </a:solidFill>
                          <a:effectLst/>
                          <a:sym typeface="Arial"/>
                        </a:rPr>
                        <a:t> $   2.174 </a:t>
                      </a:r>
                      <a:endParaRPr lang="pt-BR" sz="1200" b="1" i="0" u="none" strike="noStrike" cap="non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293774621"/>
                  </a:ext>
                </a:extLst>
              </a:tr>
            </a:tbl>
          </a:graphicData>
        </a:graphic>
      </p:graphicFrame>
      <p:pic>
        <p:nvPicPr>
          <p:cNvPr id="15" name="Imagem 14" descr="Logotipo, nome da empresa&#10;&#10;Descrição gerada automaticamente">
            <a:extLst>
              <a:ext uri="{FF2B5EF4-FFF2-40B4-BE49-F238E27FC236}">
                <a16:creationId xmlns:a16="http://schemas.microsoft.com/office/drawing/2014/main" id="{7DB69819-4D1C-C687-01D3-4FC60E24C3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506" y="67446"/>
            <a:ext cx="981744" cy="865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Google Shape;905;p4">
            <a:extLst>
              <a:ext uri="{FF2B5EF4-FFF2-40B4-BE49-F238E27FC236}">
                <a16:creationId xmlns:a16="http://schemas.microsoft.com/office/drawing/2014/main" id="{81805037-D8DC-C3BA-1DF5-9D3289C1ADCF}"/>
              </a:ext>
            </a:extLst>
          </p:cNvPr>
          <p:cNvSpPr/>
          <p:nvPr/>
        </p:nvSpPr>
        <p:spPr>
          <a:xfrm>
            <a:off x="11588496" y="6467431"/>
            <a:ext cx="307094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17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158067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tângulo 26">
            <a:extLst>
              <a:ext uri="{FF2B5EF4-FFF2-40B4-BE49-F238E27FC236}">
                <a16:creationId xmlns:a16="http://schemas.microsoft.com/office/drawing/2014/main" id="{058320D0-FDF8-87DB-C578-F86F08F2B43C}"/>
              </a:ext>
            </a:extLst>
          </p:cNvPr>
          <p:cNvSpPr/>
          <p:nvPr/>
        </p:nvSpPr>
        <p:spPr>
          <a:xfrm>
            <a:off x="2761959" y="-75500"/>
            <a:ext cx="9430041" cy="6933500"/>
          </a:xfrm>
          <a:prstGeom prst="rect">
            <a:avLst/>
          </a:prstGeom>
          <a:solidFill>
            <a:srgbClr val="0562AF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758" dirty="0"/>
          </a:p>
        </p:txBody>
      </p:sp>
      <p:pic>
        <p:nvPicPr>
          <p:cNvPr id="13" name="Google Shape;1199;p14">
            <a:extLst>
              <a:ext uri="{FF2B5EF4-FFF2-40B4-BE49-F238E27FC236}">
                <a16:creationId xmlns:a16="http://schemas.microsoft.com/office/drawing/2014/main" id="{D4951337-E212-6521-B296-DA0F95A15EA9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0"/>
            <a:ext cx="2887025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30729" name="Imagem 3" descr="Logotipo, nome da empresa&#10;&#10;Descrição gerada automaticamente">
            <a:extLst>
              <a:ext uri="{FF2B5EF4-FFF2-40B4-BE49-F238E27FC236}">
                <a16:creationId xmlns:a16="http://schemas.microsoft.com/office/drawing/2014/main" id="{81EE58A9-4412-835C-C80B-3F8C8B02C5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239" y="228986"/>
            <a:ext cx="1304292" cy="11492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06E0EB2E-4ABE-3991-492E-A36C544880BE}"/>
              </a:ext>
            </a:extLst>
          </p:cNvPr>
          <p:cNvSpPr txBox="1"/>
          <p:nvPr/>
        </p:nvSpPr>
        <p:spPr>
          <a:xfrm>
            <a:off x="3410648" y="6402042"/>
            <a:ext cx="7721841" cy="29001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0" marR="0" lvl="0" indent="0" algn="l" defTabSz="44663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303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rPr>
              <a:t>IDV – Instituto para Desenvolvimento do Varejo</a:t>
            </a:r>
          </a:p>
        </p:txBody>
      </p:sp>
      <p:cxnSp>
        <p:nvCxnSpPr>
          <p:cNvPr id="7" name="Conector Reto 64">
            <a:extLst>
              <a:ext uri="{FF2B5EF4-FFF2-40B4-BE49-F238E27FC236}">
                <a16:creationId xmlns:a16="http://schemas.microsoft.com/office/drawing/2014/main" id="{A1AEC2EF-79D5-D795-AC46-585B193EFCB8}"/>
              </a:ext>
            </a:extLst>
          </p:cNvPr>
          <p:cNvCxnSpPr>
            <a:cxnSpLocks/>
          </p:cNvCxnSpPr>
          <p:nvPr/>
        </p:nvCxnSpPr>
        <p:spPr>
          <a:xfrm>
            <a:off x="3461827" y="6358617"/>
            <a:ext cx="6657937" cy="27916"/>
          </a:xfrm>
          <a:prstGeom prst="line">
            <a:avLst/>
          </a:prstGeom>
          <a:ln>
            <a:solidFill>
              <a:schemeClr val="bg2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abela 7">
            <a:extLst>
              <a:ext uri="{FF2B5EF4-FFF2-40B4-BE49-F238E27FC236}">
                <a16:creationId xmlns:a16="http://schemas.microsoft.com/office/drawing/2014/main" id="{FFEB63FD-DF0E-330D-D070-8A938B1A5AA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68342"/>
              </p:ext>
            </p:extLst>
          </p:nvPr>
        </p:nvGraphicFramePr>
        <p:xfrm>
          <a:off x="7284940" y="2518774"/>
          <a:ext cx="4066234" cy="108541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113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6007">
                  <a:extLst>
                    <a:ext uri="{9D8B030D-6E8A-4147-A177-3AD203B41FA5}">
                      <a16:colId xmlns:a16="http://schemas.microsoft.com/office/drawing/2014/main" val="3785741384"/>
                    </a:ext>
                  </a:extLst>
                </a:gridCol>
                <a:gridCol w="14288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3257">
                <a:tc gridSpan="2">
                  <a:txBody>
                    <a:bodyPr/>
                    <a:lstStyle/>
                    <a:p>
                      <a:pPr algn="ctr" fontAlgn="b"/>
                      <a:endParaRPr lang="pt-BR" sz="7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  <a:p>
                      <a:pPr algn="ctr" fontAlgn="b"/>
                      <a:r>
                        <a:rPr lang="pt-BR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Poppins Medium" pitchFamily="2" charset="77"/>
                          <a:cs typeface="Poppins Medium" pitchFamily="2" charset="77"/>
                        </a:rPr>
                        <a:t>ALÍQUOTAS NOMINAIS</a:t>
                      </a:r>
                    </a:p>
                    <a:p>
                      <a:pPr algn="ctr" fontAlgn="b"/>
                      <a:endParaRPr lang="pt-BR" sz="7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</a:txBody>
                  <a:tcPr marL="9304" marR="9304" marT="930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pt-BR" sz="14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</a:txBody>
                  <a:tcPr marL="9304" marR="9304" marT="9306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562A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Poppins Medium" pitchFamily="2" charset="77"/>
                          <a:cs typeface="Poppins Medium" pitchFamily="2" charset="77"/>
                        </a:rPr>
                        <a:t>CARGA TRIBUTÁRIA EFETIVA MÉDIA</a:t>
                      </a:r>
                    </a:p>
                    <a:p>
                      <a:pPr algn="ctr" fontAlgn="b"/>
                      <a:endParaRPr lang="pt-BR" sz="14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</a:txBody>
                  <a:tcPr marL="9304" marR="9304" marT="930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565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endParaRPr lang="pt-BR" sz="7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  <a:p>
                      <a:pPr algn="ctr" fontAlgn="b"/>
                      <a:r>
                        <a:rPr lang="pt-BR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Poppins Medium" pitchFamily="2" charset="77"/>
                          <a:cs typeface="Poppins Medium" pitchFamily="2" charset="77"/>
                        </a:rPr>
                        <a:t>IMPOSTO DE </a:t>
                      </a:r>
                    </a:p>
                    <a:p>
                      <a:pPr algn="ctr" fontAlgn="b"/>
                      <a:r>
                        <a:rPr lang="pt-BR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Poppins Medium" pitchFamily="2" charset="77"/>
                          <a:cs typeface="Poppins Medium" pitchFamily="2" charset="77"/>
                        </a:rPr>
                        <a:t>IMPORTAÇAO</a:t>
                      </a:r>
                    </a:p>
                    <a:p>
                      <a:pPr algn="ctr" fontAlgn="b"/>
                      <a:endParaRPr lang="pt-BR" sz="7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</a:txBody>
                  <a:tcPr marL="9304" marR="9304" marT="930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Poppins Medium" pitchFamily="2" charset="77"/>
                          <a:cs typeface="Poppins Medium" pitchFamily="2" charset="77"/>
                        </a:rPr>
                        <a:t>ICMS</a:t>
                      </a:r>
                    </a:p>
                    <a:p>
                      <a:pPr algn="ctr" fontAlgn="b"/>
                      <a:endParaRPr lang="pt-BR" sz="14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</a:txBody>
                  <a:tcPr marL="9304" marR="9304" marT="9306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b"/>
                      <a:endParaRPr lang="pt-BR" sz="7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  <a:p>
                      <a:pPr algn="ctr" fontAlgn="b"/>
                      <a:r>
                        <a:rPr lang="pt-BR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Poppins Medium" pitchFamily="2" charset="77"/>
                          <a:cs typeface="Poppins Medium" pitchFamily="2" charset="77"/>
                        </a:rPr>
                        <a:t>CARGA TRIBUTÁRIA EFETIVA MÉDIA</a:t>
                      </a:r>
                    </a:p>
                    <a:p>
                      <a:pPr algn="ctr" fontAlgn="b"/>
                      <a:endParaRPr lang="pt-BR" sz="7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</a:txBody>
                  <a:tcPr marL="9304" marR="9304" marT="9306" marB="0" anchor="b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562A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0" name="CaixaDeTexto 9">
            <a:extLst>
              <a:ext uri="{FF2B5EF4-FFF2-40B4-BE49-F238E27FC236}">
                <a16:creationId xmlns:a16="http://schemas.microsoft.com/office/drawing/2014/main" id="{BD3A82AB-187A-65CC-BD5D-AAAB07BAFFC6}"/>
              </a:ext>
            </a:extLst>
          </p:cNvPr>
          <p:cNvSpPr txBox="1"/>
          <p:nvPr/>
        </p:nvSpPr>
        <p:spPr>
          <a:xfrm>
            <a:off x="3630141" y="5244055"/>
            <a:ext cx="415500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* Cálculo sem IOF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Poppins" panose="00000500000000000000" pitchFamily="2" charset="0"/>
                <a:ea typeface="+mn-ea"/>
                <a:cs typeface="Poppins" panose="00000500000000000000" pitchFamily="2" charset="0"/>
              </a:rPr>
              <a:t>** Alíquota divulgada pela imprensa</a:t>
            </a:r>
          </a:p>
        </p:txBody>
      </p:sp>
      <p:sp>
        <p:nvSpPr>
          <p:cNvPr id="12" name="TextBox 12">
            <a:extLst>
              <a:ext uri="{FF2B5EF4-FFF2-40B4-BE49-F238E27FC236}">
                <a16:creationId xmlns:a16="http://schemas.microsoft.com/office/drawing/2014/main" id="{D007C81F-6FA0-7693-BCC5-48C4AB8C2F9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91973" y="708738"/>
            <a:ext cx="9000026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44663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pt-BR" sz="2200" b="1" dirty="0">
                <a:latin typeface="Poppins" panose="00000500000000000000" pitchFamily="2" charset="0"/>
                <a:ea typeface="Noto Serif" panose="02020600060500020200" pitchFamily="18" charset="0"/>
                <a:cs typeface="Poppins" panose="00000500000000000000" pitchFamily="2" charset="0"/>
              </a:rPr>
              <a:t>IMPOSTO DE IMPORTAÇÃO NECESSÁRIO  </a:t>
            </a:r>
          </a:p>
          <a:p>
            <a:pPr marL="0" marR="0" lvl="0" indent="0" algn="ctr" defTabSz="44663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altLang="pt-BR" sz="2200" b="1" dirty="0">
                <a:latin typeface="Poppins" panose="00000500000000000000" pitchFamily="2" charset="0"/>
                <a:ea typeface="Noto Serif" panose="02020600060500020200" pitchFamily="18" charset="0"/>
                <a:cs typeface="Poppins" panose="00000500000000000000" pitchFamily="2" charset="0"/>
              </a:rPr>
              <a:t>PARA  ISONOMIA TRIBUTÁRIA</a:t>
            </a:r>
            <a:endParaRPr lang="id-ID" altLang="pt-BR" sz="2200" b="1" dirty="0">
              <a:latin typeface="Poppins" panose="00000500000000000000" pitchFamily="2" charset="0"/>
              <a:ea typeface="Noto Serif" panose="02020600060500020200" pitchFamily="18" charset="0"/>
              <a:cs typeface="Poppins" panose="00000500000000000000" pitchFamily="2" charset="0"/>
            </a:endParaRPr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id="{6074B04D-DAE7-10F0-F0CC-BEEBFEEB89ED}"/>
              </a:ext>
            </a:extLst>
          </p:cNvPr>
          <p:cNvSpPr/>
          <p:nvPr/>
        </p:nvSpPr>
        <p:spPr>
          <a:xfrm>
            <a:off x="4534390" y="652331"/>
            <a:ext cx="6315191" cy="905715"/>
          </a:xfrm>
          <a:prstGeom prst="rect">
            <a:avLst/>
          </a:prstGeom>
          <a:noFill/>
          <a:ln>
            <a:solidFill>
              <a:schemeClr val="tx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4663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175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0" name="Conector reto 19">
            <a:extLst>
              <a:ext uri="{FF2B5EF4-FFF2-40B4-BE49-F238E27FC236}">
                <a16:creationId xmlns:a16="http://schemas.microsoft.com/office/drawing/2014/main" id="{FA4AFDA7-7FBF-73B4-FD1F-D1D2461E5407}"/>
              </a:ext>
            </a:extLst>
          </p:cNvPr>
          <p:cNvCxnSpPr/>
          <p:nvPr/>
        </p:nvCxnSpPr>
        <p:spPr>
          <a:xfrm>
            <a:off x="7271568" y="2954125"/>
            <a:ext cx="264253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aixaDeTexto 2">
            <a:extLst>
              <a:ext uri="{FF2B5EF4-FFF2-40B4-BE49-F238E27FC236}">
                <a16:creationId xmlns:a16="http://schemas.microsoft.com/office/drawing/2014/main" id="{14EB9391-E4A1-BB09-5640-D7A54E922311}"/>
              </a:ext>
            </a:extLst>
          </p:cNvPr>
          <p:cNvSpPr txBox="1"/>
          <p:nvPr/>
        </p:nvSpPr>
        <p:spPr>
          <a:xfrm>
            <a:off x="361511" y="2034526"/>
            <a:ext cx="2400449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odas as metodologias de cálculo da carga tributária estudada apresentam a </a:t>
            </a:r>
            <a:r>
              <a:rPr lang="pt-BR" b="1" u="sng" dirty="0"/>
              <a:t>alíquota da importação de cerca de 60% </a:t>
            </a:r>
            <a:r>
              <a:rPr lang="pt-BR" dirty="0"/>
              <a:t>como a alíquota mínima para gerar a isonomia tributária </a:t>
            </a:r>
          </a:p>
        </p:txBody>
      </p:sp>
      <p:graphicFrame>
        <p:nvGraphicFramePr>
          <p:cNvPr id="6" name="Tabela 5">
            <a:extLst>
              <a:ext uri="{FF2B5EF4-FFF2-40B4-BE49-F238E27FC236}">
                <a16:creationId xmlns:a16="http://schemas.microsoft.com/office/drawing/2014/main" id="{AAA91387-A853-AB90-B1C1-EE3CC3C3F3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0460442"/>
              </p:ext>
            </p:extLst>
          </p:nvPr>
        </p:nvGraphicFramePr>
        <p:xfrm>
          <a:off x="3630141" y="3595958"/>
          <a:ext cx="7732468" cy="152555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97199">
                  <a:extLst>
                    <a:ext uri="{9D8B030D-6E8A-4147-A177-3AD203B41FA5}">
                      <a16:colId xmlns:a16="http://schemas.microsoft.com/office/drawing/2014/main" val="3912846827"/>
                    </a:ext>
                  </a:extLst>
                </a:gridCol>
                <a:gridCol w="2869035">
                  <a:extLst>
                    <a:ext uri="{9D8B030D-6E8A-4147-A177-3AD203B41FA5}">
                      <a16:colId xmlns:a16="http://schemas.microsoft.com/office/drawing/2014/main" val="2725882153"/>
                    </a:ext>
                  </a:extLst>
                </a:gridCol>
                <a:gridCol w="171135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26007">
                  <a:extLst>
                    <a:ext uri="{9D8B030D-6E8A-4147-A177-3AD203B41FA5}">
                      <a16:colId xmlns:a16="http://schemas.microsoft.com/office/drawing/2014/main" val="3785741384"/>
                    </a:ext>
                  </a:extLst>
                </a:gridCol>
                <a:gridCol w="14288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7617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Poppins Medium" pitchFamily="2" charset="77"/>
                          <a:cs typeface="Poppins Medium" pitchFamily="2" charset="77"/>
                        </a:rPr>
                        <a:t>ESTUDO IDV</a:t>
                      </a:r>
                    </a:p>
                    <a:p>
                      <a:pPr algn="ctr" fontAlgn="b"/>
                      <a:endParaRPr lang="pt-BR" sz="700" b="1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</a:txBody>
                  <a:tcPr marL="9304" marR="9304" marT="9306" marB="0" vert="vert270" anchor="b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700" b="1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  <a:p>
                      <a:pPr algn="l" fontAlgn="b"/>
                      <a:r>
                        <a:rPr lang="pt-BR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Poppins Medium" pitchFamily="2" charset="77"/>
                          <a:cs typeface="Poppins Medium" pitchFamily="2" charset="77"/>
                        </a:rPr>
                        <a:t>  Média das categorias (*)</a:t>
                      </a:r>
                    </a:p>
                    <a:p>
                      <a:pPr algn="l" fontAlgn="b"/>
                      <a:endParaRPr lang="pt-BR" sz="1400" b="1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  <a:p>
                      <a:pPr algn="l" fontAlgn="b"/>
                      <a:endParaRPr lang="pt-BR" sz="700" b="1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</a:txBody>
                  <a:tcPr marL="9304" marR="9304" marT="9306" marB="0" anchor="b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t-BR" sz="700" b="1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  <a:p>
                      <a:pPr algn="ctr" fontAlgn="b"/>
                      <a:r>
                        <a:rPr lang="pt-BR" sz="2000" b="1" i="0" u="none" strike="noStrike" dirty="0">
                          <a:solidFill>
                            <a:srgbClr val="C00000"/>
                          </a:solidFill>
                          <a:effectLst/>
                          <a:latin typeface="Poppins Medium" pitchFamily="2" charset="77"/>
                          <a:cs typeface="Poppins Medium" pitchFamily="2" charset="77"/>
                        </a:rPr>
                        <a:t>74,2%</a:t>
                      </a:r>
                    </a:p>
                    <a:p>
                      <a:pPr algn="ctr" fontAlgn="b"/>
                      <a:endParaRPr lang="pt-BR" sz="1000" b="1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  <a:p>
                      <a:pPr algn="ctr" fontAlgn="b"/>
                      <a:endParaRPr lang="pt-BR" sz="700" b="1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</a:txBody>
                  <a:tcPr marL="9304" marR="9304" marT="9306" marB="0" anchor="b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t-BR" sz="7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  <a:p>
                      <a:pPr algn="ctr" fontAlgn="b"/>
                      <a:r>
                        <a:rPr lang="pt-BR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Poppins Medium" pitchFamily="2" charset="77"/>
                          <a:cs typeface="Poppins Medium" pitchFamily="2" charset="77"/>
                        </a:rPr>
                        <a:t>17,0%</a:t>
                      </a:r>
                    </a:p>
                    <a:p>
                      <a:pPr algn="ctr" fontAlgn="b"/>
                      <a:endParaRPr lang="pt-BR" sz="7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  <a:p>
                      <a:pPr algn="ctr" fontAlgn="b"/>
                      <a:endParaRPr lang="pt-BR" sz="14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</a:txBody>
                  <a:tcPr marL="9304" marR="9304" marT="9306" marB="0" anchor="b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t-BR" sz="7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  <a:p>
                      <a:pPr algn="ctr" fontAlgn="b"/>
                      <a:r>
                        <a:rPr lang="pt-BR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Poppins Medium" pitchFamily="2" charset="77"/>
                          <a:cs typeface="Poppins Medium" pitchFamily="2" charset="77"/>
                        </a:rPr>
                        <a:t>109,9%</a:t>
                      </a:r>
                    </a:p>
                    <a:p>
                      <a:pPr algn="ctr" fontAlgn="b"/>
                      <a:endParaRPr lang="pt-BR" sz="7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  <a:p>
                      <a:pPr algn="ctr" fontAlgn="b"/>
                      <a:endParaRPr lang="pt-BR" sz="14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</a:txBody>
                  <a:tcPr marL="9304" marR="9304" marT="9306" marB="0" anchor="b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5362"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Poppins Medium" pitchFamily="2" charset="77"/>
                          <a:cs typeface="Poppins Medium" pitchFamily="2" charset="77"/>
                        </a:rPr>
                        <a:t>MF (**)</a:t>
                      </a:r>
                    </a:p>
                    <a:p>
                      <a:pPr algn="ctr" fontAlgn="b"/>
                      <a:endParaRPr lang="pt-BR" sz="14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</a:txBody>
                  <a:tcPr marL="9304" marR="9304" marT="9306" marB="0" vert="vert270" anchor="b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Poppins Medium" pitchFamily="2" charset="77"/>
                          <a:cs typeface="Poppins Medium" pitchFamily="2" charset="77"/>
                        </a:rPr>
                        <a:t>  PROPOSTA </a:t>
                      </a:r>
                    </a:p>
                    <a:p>
                      <a:pPr algn="l" fontAlgn="b"/>
                      <a:r>
                        <a:rPr lang="pt-BR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Poppins Medium" pitchFamily="2" charset="77"/>
                          <a:cs typeface="Poppins Medium" pitchFamily="2" charset="77"/>
                        </a:rPr>
                        <a:t>  MINISTÉRIO DA FAZENDA</a:t>
                      </a:r>
                    </a:p>
                    <a:p>
                      <a:pPr algn="l" fontAlgn="b"/>
                      <a:endParaRPr lang="pt-BR" sz="7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</a:txBody>
                  <a:tcPr marL="9304" marR="9304" marT="9306" marB="0" anchor="b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t-BR" sz="7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  <a:p>
                      <a:pPr algn="ctr" fontAlgn="b"/>
                      <a:r>
                        <a:rPr lang="pt-BR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Poppins Medium" pitchFamily="2" charset="77"/>
                          <a:cs typeface="Poppins Medium" pitchFamily="2" charset="77"/>
                        </a:rPr>
                        <a:t>20,0%</a:t>
                      </a:r>
                    </a:p>
                    <a:p>
                      <a:pPr algn="ctr" fontAlgn="b"/>
                      <a:endParaRPr lang="pt-BR" sz="7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  <a:p>
                      <a:pPr algn="ctr" fontAlgn="b"/>
                      <a:endParaRPr lang="pt-BR" sz="7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</a:txBody>
                  <a:tcPr marL="9304" marR="9304" marT="9306" marB="0" anchor="b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t-BR" sz="7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  <a:p>
                      <a:pPr algn="ctr" fontAlgn="b"/>
                      <a:endParaRPr lang="pt-BR" sz="7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  <a:p>
                      <a:pPr algn="ctr" fontAlgn="b"/>
                      <a:r>
                        <a:rPr lang="pt-BR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Poppins Medium" pitchFamily="2" charset="77"/>
                          <a:cs typeface="Poppins Medium" pitchFamily="2" charset="77"/>
                        </a:rPr>
                        <a:t>17,0%</a:t>
                      </a:r>
                    </a:p>
                    <a:p>
                      <a:pPr algn="ctr" fontAlgn="b"/>
                      <a:endParaRPr lang="pt-BR" sz="14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</a:txBody>
                  <a:tcPr marL="9304" marR="9304" marT="9306" marB="0" anchor="b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t-BR" sz="7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  <a:p>
                      <a:pPr algn="ctr" fontAlgn="b"/>
                      <a:r>
                        <a:rPr lang="pt-BR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Poppins Medium" pitchFamily="2" charset="77"/>
                          <a:cs typeface="Poppins Medium" pitchFamily="2" charset="77"/>
                        </a:rPr>
                        <a:t>44,6%</a:t>
                      </a:r>
                    </a:p>
                    <a:p>
                      <a:pPr algn="ctr" fontAlgn="b"/>
                      <a:endParaRPr lang="pt-BR" sz="1400" b="0" i="0" u="none" strike="noStrike" dirty="0">
                        <a:solidFill>
                          <a:schemeClr val="bg1"/>
                        </a:solidFill>
                        <a:effectLst/>
                        <a:latin typeface="Poppins Medium" pitchFamily="2" charset="77"/>
                        <a:cs typeface="Poppins Medium" pitchFamily="2" charset="77"/>
                      </a:endParaRPr>
                    </a:p>
                  </a:txBody>
                  <a:tcPr marL="9304" marR="9304" marT="9306" marB="0" anchor="b">
                    <a:lnL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9" name="Conector reto 8">
            <a:extLst>
              <a:ext uri="{FF2B5EF4-FFF2-40B4-BE49-F238E27FC236}">
                <a16:creationId xmlns:a16="http://schemas.microsoft.com/office/drawing/2014/main" id="{C8A4B94A-C7D3-9018-8554-7F4D3AF1DA1C}"/>
              </a:ext>
            </a:extLst>
          </p:cNvPr>
          <p:cNvCxnSpPr>
            <a:cxnSpLocks/>
          </p:cNvCxnSpPr>
          <p:nvPr/>
        </p:nvCxnSpPr>
        <p:spPr>
          <a:xfrm>
            <a:off x="3630141" y="4471092"/>
            <a:ext cx="7721033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Google Shape;905;p4">
            <a:extLst>
              <a:ext uri="{FF2B5EF4-FFF2-40B4-BE49-F238E27FC236}">
                <a16:creationId xmlns:a16="http://schemas.microsoft.com/office/drawing/2014/main" id="{A175D4E0-58D4-32C5-D062-8C5950FEA8DA}"/>
              </a:ext>
            </a:extLst>
          </p:cNvPr>
          <p:cNvSpPr/>
          <p:nvPr/>
        </p:nvSpPr>
        <p:spPr>
          <a:xfrm>
            <a:off x="11588496" y="6467431"/>
            <a:ext cx="307094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18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5" name="Conector reto 14">
            <a:extLst>
              <a:ext uri="{FF2B5EF4-FFF2-40B4-BE49-F238E27FC236}">
                <a16:creationId xmlns:a16="http://schemas.microsoft.com/office/drawing/2014/main" id="{0806F8B7-F41B-7DEE-F84F-3E82B32C588D}"/>
              </a:ext>
            </a:extLst>
          </p:cNvPr>
          <p:cNvCxnSpPr>
            <a:cxnSpLocks/>
          </p:cNvCxnSpPr>
          <p:nvPr/>
        </p:nvCxnSpPr>
        <p:spPr>
          <a:xfrm>
            <a:off x="3657311" y="4490468"/>
            <a:ext cx="7705298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to 16">
            <a:extLst>
              <a:ext uri="{FF2B5EF4-FFF2-40B4-BE49-F238E27FC236}">
                <a16:creationId xmlns:a16="http://schemas.microsoft.com/office/drawing/2014/main" id="{FD199EB3-E76F-8209-3B3C-4495788DCBE2}"/>
              </a:ext>
            </a:extLst>
          </p:cNvPr>
          <p:cNvCxnSpPr>
            <a:cxnSpLocks/>
          </p:cNvCxnSpPr>
          <p:nvPr/>
        </p:nvCxnSpPr>
        <p:spPr>
          <a:xfrm>
            <a:off x="3674378" y="3582099"/>
            <a:ext cx="7688231" cy="34232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id="{8262058F-EBB3-6170-D184-3911E914BE0C}"/>
              </a:ext>
            </a:extLst>
          </p:cNvPr>
          <p:cNvCxnSpPr>
            <a:cxnSpLocks/>
          </p:cNvCxnSpPr>
          <p:nvPr/>
        </p:nvCxnSpPr>
        <p:spPr>
          <a:xfrm>
            <a:off x="7284940" y="2491971"/>
            <a:ext cx="4077669" cy="34232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reto 21">
            <a:extLst>
              <a:ext uri="{FF2B5EF4-FFF2-40B4-BE49-F238E27FC236}">
                <a16:creationId xmlns:a16="http://schemas.microsoft.com/office/drawing/2014/main" id="{5C40B275-F66D-FD83-4AE9-7B8247637A1C}"/>
              </a:ext>
            </a:extLst>
          </p:cNvPr>
          <p:cNvCxnSpPr>
            <a:cxnSpLocks/>
          </p:cNvCxnSpPr>
          <p:nvPr/>
        </p:nvCxnSpPr>
        <p:spPr>
          <a:xfrm>
            <a:off x="7284940" y="2509087"/>
            <a:ext cx="0" cy="2612427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to 24">
            <a:extLst>
              <a:ext uri="{FF2B5EF4-FFF2-40B4-BE49-F238E27FC236}">
                <a16:creationId xmlns:a16="http://schemas.microsoft.com/office/drawing/2014/main" id="{F6D453AD-8A3A-937E-853A-C50EE400DF31}"/>
              </a:ext>
            </a:extLst>
          </p:cNvPr>
          <p:cNvCxnSpPr>
            <a:cxnSpLocks/>
          </p:cNvCxnSpPr>
          <p:nvPr/>
        </p:nvCxnSpPr>
        <p:spPr>
          <a:xfrm>
            <a:off x="11351174" y="2500360"/>
            <a:ext cx="0" cy="2612427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to 28">
            <a:extLst>
              <a:ext uri="{FF2B5EF4-FFF2-40B4-BE49-F238E27FC236}">
                <a16:creationId xmlns:a16="http://schemas.microsoft.com/office/drawing/2014/main" id="{63E4FF95-CD8F-2494-FA46-0724D3CBFB8B}"/>
              </a:ext>
            </a:extLst>
          </p:cNvPr>
          <p:cNvCxnSpPr>
            <a:cxnSpLocks/>
          </p:cNvCxnSpPr>
          <p:nvPr/>
        </p:nvCxnSpPr>
        <p:spPr>
          <a:xfrm>
            <a:off x="9933146" y="2509087"/>
            <a:ext cx="0" cy="2612427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ector reto 29">
            <a:extLst>
              <a:ext uri="{FF2B5EF4-FFF2-40B4-BE49-F238E27FC236}">
                <a16:creationId xmlns:a16="http://schemas.microsoft.com/office/drawing/2014/main" id="{4AE44FD5-9D48-56BD-E2C3-D650E86EF9B6}"/>
              </a:ext>
            </a:extLst>
          </p:cNvPr>
          <p:cNvCxnSpPr>
            <a:cxnSpLocks/>
          </p:cNvCxnSpPr>
          <p:nvPr/>
        </p:nvCxnSpPr>
        <p:spPr>
          <a:xfrm flipH="1">
            <a:off x="3630141" y="3582099"/>
            <a:ext cx="10657" cy="1530688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9" name="Google Shape;1199;p1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0" y="0"/>
            <a:ext cx="12208159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02" name="Google Shape;1202;p14" descr="Logotipo, nome da empresa&#10;&#10;Descrição gerada automaticamente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305284" y="83807"/>
            <a:ext cx="1622908" cy="169529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2. Slide Title">
            <a:extLst>
              <a:ext uri="{FF2B5EF4-FFF2-40B4-BE49-F238E27FC236}">
                <a16:creationId xmlns:a16="http://schemas.microsoft.com/office/drawing/2014/main" id="{143C1F98-3D64-ED40-C7CD-9D22EF223D09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756253" y="2426740"/>
            <a:ext cx="6931914" cy="1717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spcFirstLastPara="1" vert="horz" wrap="square"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3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Georgia"/>
              <a:buNone/>
              <a:defRPr sz="4400" b="1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pt-BR" sz="4000" kern="0" dirty="0"/>
              <a:t>Aspectos regulatórios</a:t>
            </a:r>
            <a:br>
              <a:rPr lang="pt-BR" sz="4000" kern="0" dirty="0"/>
            </a:br>
            <a:r>
              <a:rPr lang="pt-BR" sz="4000" kern="0" dirty="0"/>
              <a:t>Direito dos Consumidores </a:t>
            </a:r>
            <a:br>
              <a:rPr lang="pt-BR" sz="4000" kern="0" dirty="0"/>
            </a:br>
            <a:r>
              <a:rPr lang="pt-BR" sz="4000" kern="0" dirty="0"/>
              <a:t>Propriedade Intelectual  </a:t>
            </a:r>
            <a:endParaRPr lang="en-US" sz="4000" kern="0" dirty="0"/>
          </a:p>
        </p:txBody>
      </p:sp>
      <p:sp>
        <p:nvSpPr>
          <p:cNvPr id="3" name="Google Shape;905;p4">
            <a:extLst>
              <a:ext uri="{FF2B5EF4-FFF2-40B4-BE49-F238E27FC236}">
                <a16:creationId xmlns:a16="http://schemas.microsoft.com/office/drawing/2014/main" id="{CFFB51A6-3529-6901-471A-C8B681AAA5F7}"/>
              </a:ext>
            </a:extLst>
          </p:cNvPr>
          <p:cNvSpPr/>
          <p:nvPr/>
        </p:nvSpPr>
        <p:spPr>
          <a:xfrm>
            <a:off x="11588496" y="6467431"/>
            <a:ext cx="307094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19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0438102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9" name="Google Shape;1199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7812"/>
            <a:ext cx="1220815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00" name="Google Shape;1200;p14"/>
          <p:cNvSpPr txBox="1">
            <a:spLocks noGrp="1"/>
          </p:cNvSpPr>
          <p:nvPr>
            <p:ph type="title"/>
          </p:nvPr>
        </p:nvSpPr>
        <p:spPr>
          <a:xfrm>
            <a:off x="1455167" y="1862911"/>
            <a:ext cx="9297821" cy="19139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Georgia"/>
              <a:buNone/>
            </a:pPr>
            <a:r>
              <a:rPr lang="pt-BR" dirty="0"/>
              <a:t>Quem somos</a:t>
            </a:r>
            <a:endParaRPr dirty="0"/>
          </a:p>
        </p:txBody>
      </p:sp>
      <p:pic>
        <p:nvPicPr>
          <p:cNvPr id="1202" name="Google Shape;1202;p14" descr="Logotipo, nome da empresa&#10;&#10;Descrição gerada automaticamente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05284" y="83807"/>
            <a:ext cx="1622908" cy="169529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874;p2">
            <a:extLst>
              <a:ext uri="{FF2B5EF4-FFF2-40B4-BE49-F238E27FC236}">
                <a16:creationId xmlns:a16="http://schemas.microsoft.com/office/drawing/2014/main" id="{79A7B188-E40F-4C54-E872-F92361BB0AB3}"/>
              </a:ext>
            </a:extLst>
          </p:cNvPr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t>2</a:t>
            </a:fld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Google Shape;905;p4">
            <a:extLst>
              <a:ext uri="{FF2B5EF4-FFF2-40B4-BE49-F238E27FC236}">
                <a16:creationId xmlns:a16="http://schemas.microsoft.com/office/drawing/2014/main" id="{CBD0EFD2-F977-7491-D164-E9D512D14431}"/>
              </a:ext>
            </a:extLst>
          </p:cNvPr>
          <p:cNvSpPr/>
          <p:nvPr/>
        </p:nvSpPr>
        <p:spPr>
          <a:xfrm>
            <a:off x="11588496" y="6467431"/>
            <a:ext cx="307094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2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577454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C3E088F7-D89C-BD35-EC28-5DC5055C935E}"/>
              </a:ext>
            </a:extLst>
          </p:cNvPr>
          <p:cNvSpPr/>
          <p:nvPr/>
        </p:nvSpPr>
        <p:spPr>
          <a:xfrm>
            <a:off x="3102023" y="69791"/>
            <a:ext cx="8950140" cy="6699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717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C9C02BA5-7197-D094-06B3-9683234775F9}"/>
              </a:ext>
            </a:extLst>
          </p:cNvPr>
          <p:cNvSpPr/>
          <p:nvPr/>
        </p:nvSpPr>
        <p:spPr>
          <a:xfrm>
            <a:off x="142939" y="69791"/>
            <a:ext cx="2903251" cy="6709115"/>
          </a:xfrm>
          <a:prstGeom prst="rect">
            <a:avLst/>
          </a:prstGeom>
          <a:solidFill>
            <a:srgbClr val="05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717" dirty="0"/>
          </a:p>
        </p:txBody>
      </p:sp>
      <p:sp>
        <p:nvSpPr>
          <p:cNvPr id="6" name="CaixaDeTexto 19">
            <a:extLst>
              <a:ext uri="{FF2B5EF4-FFF2-40B4-BE49-F238E27FC236}">
                <a16:creationId xmlns:a16="http://schemas.microsoft.com/office/drawing/2014/main" id="{6A1AD140-A085-B47F-3813-89559997D6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5617" y="2119612"/>
            <a:ext cx="2560505" cy="261661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872816">
              <a:lnSpc>
                <a:spcPct val="150000"/>
              </a:lnSpc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pt-BR" b="1" kern="0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Georgia"/>
              </a:rPr>
              <a:t>Exames preliminares realizados indicam</a:t>
            </a:r>
            <a:endParaRPr lang="pt-BR" kern="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  <p:pic>
        <p:nvPicPr>
          <p:cNvPr id="34823" name="Imagem 3" descr="Logotipo, nome da empresa&#10;&#10;Descrição gerada automaticamente">
            <a:extLst>
              <a:ext uri="{FF2B5EF4-FFF2-40B4-BE49-F238E27FC236}">
                <a16:creationId xmlns:a16="http://schemas.microsoft.com/office/drawing/2014/main" id="{51A6FD5E-0AC6-6E65-E982-B70BB2ADA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518" y="376865"/>
            <a:ext cx="1274825" cy="1122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aixaDeTexto 9">
            <a:extLst>
              <a:ext uri="{FF2B5EF4-FFF2-40B4-BE49-F238E27FC236}">
                <a16:creationId xmlns:a16="http://schemas.microsoft.com/office/drawing/2014/main" id="{0F768522-41CE-FA9B-8481-4515272CFB87}"/>
              </a:ext>
            </a:extLst>
          </p:cNvPr>
          <p:cNvSpPr txBox="1"/>
          <p:nvPr/>
        </p:nvSpPr>
        <p:spPr>
          <a:xfrm>
            <a:off x="3472684" y="6333803"/>
            <a:ext cx="7545040" cy="28822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pt-BR" sz="1273" dirty="0">
                <a:solidFill>
                  <a:schemeClr val="bg1">
                    <a:lumMod val="50000"/>
                  </a:schemeClr>
                </a:solidFill>
                <a:latin typeface="Poppins" pitchFamily="2" charset="77"/>
                <a:cs typeface="Poppins" pitchFamily="2" charset="77"/>
              </a:rPr>
              <a:t>IDV – Instituto para Desenvolvimento do Varejo (29/09/2023)</a:t>
            </a:r>
          </a:p>
        </p:txBody>
      </p:sp>
      <p:cxnSp>
        <p:nvCxnSpPr>
          <p:cNvPr id="11" name="Conector Reto 64">
            <a:extLst>
              <a:ext uri="{FF2B5EF4-FFF2-40B4-BE49-F238E27FC236}">
                <a16:creationId xmlns:a16="http://schemas.microsoft.com/office/drawing/2014/main" id="{4D88546B-DDFF-4505-AB2D-2DAAFD939784}"/>
              </a:ext>
            </a:extLst>
          </p:cNvPr>
          <p:cNvCxnSpPr>
            <a:cxnSpLocks/>
          </p:cNvCxnSpPr>
          <p:nvPr/>
        </p:nvCxnSpPr>
        <p:spPr>
          <a:xfrm>
            <a:off x="3522312" y="6291929"/>
            <a:ext cx="6504399" cy="2636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A113D3EA-190C-4A83-E4FA-53A5AA86C0BD}"/>
              </a:ext>
            </a:extLst>
          </p:cNvPr>
          <p:cNvSpPr txBox="1"/>
          <p:nvPr/>
        </p:nvSpPr>
        <p:spPr>
          <a:xfrm>
            <a:off x="3522312" y="1242705"/>
            <a:ext cx="7821549" cy="40934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457200" indent="-457200" algn="just"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pt-BR" dirty="0">
                <a:solidFill>
                  <a:schemeClr val="bg1">
                    <a:lumMod val="50000"/>
                  </a:schemeClr>
                </a:solidFill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C</a:t>
            </a:r>
            <a:r>
              <a:rPr lang="pt-BR" dirty="0">
                <a:solidFill>
                  <a:schemeClr val="bg1">
                    <a:lumMod val="50000"/>
                  </a:schemeClr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omercialização não autorizada de </a:t>
            </a:r>
            <a:r>
              <a:rPr lang="pt-BR" b="1" dirty="0">
                <a:solidFill>
                  <a:schemeClr val="bg1">
                    <a:lumMod val="50000"/>
                  </a:schemeClr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clareadores dentais</a:t>
            </a:r>
            <a:r>
              <a:rPr lang="pt-BR" dirty="0">
                <a:solidFill>
                  <a:schemeClr val="bg1">
                    <a:lumMod val="50000"/>
                  </a:schemeClr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; </a:t>
            </a:r>
          </a:p>
          <a:p>
            <a:pPr marL="457200" indent="-457200" algn="just"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pt-BR" dirty="0">
                <a:solidFill>
                  <a:schemeClr val="bg1">
                    <a:lumMod val="50000"/>
                  </a:schemeClr>
                </a:solidFill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C</a:t>
            </a:r>
            <a:r>
              <a:rPr lang="pt-BR" dirty="0">
                <a:solidFill>
                  <a:schemeClr val="bg1">
                    <a:lumMod val="50000"/>
                  </a:schemeClr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omercialização não autorizada de </a:t>
            </a:r>
            <a:r>
              <a:rPr lang="pt-BR" b="1" dirty="0">
                <a:solidFill>
                  <a:schemeClr val="bg1">
                    <a:lumMod val="50000"/>
                  </a:schemeClr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produtos com formol</a:t>
            </a:r>
            <a:r>
              <a:rPr lang="pt-BR" dirty="0">
                <a:solidFill>
                  <a:schemeClr val="bg1">
                    <a:lumMod val="50000"/>
                  </a:schemeClr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 para cabelo; </a:t>
            </a:r>
          </a:p>
          <a:p>
            <a:pPr marL="457200" indent="-457200" algn="just"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pt-BR" dirty="0">
                <a:solidFill>
                  <a:schemeClr val="bg1">
                    <a:lumMod val="50000"/>
                  </a:schemeClr>
                </a:solidFill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C</a:t>
            </a:r>
            <a:r>
              <a:rPr lang="pt-BR" dirty="0">
                <a:solidFill>
                  <a:schemeClr val="bg1">
                    <a:lumMod val="50000"/>
                  </a:schemeClr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omercialização de </a:t>
            </a:r>
            <a:r>
              <a:rPr lang="pt-BR" b="1" dirty="0">
                <a:solidFill>
                  <a:schemeClr val="bg1">
                    <a:lumMod val="50000"/>
                  </a:schemeClr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pomadas modeladoras </a:t>
            </a:r>
            <a:r>
              <a:rPr lang="pt-BR" dirty="0">
                <a:solidFill>
                  <a:schemeClr val="bg1">
                    <a:lumMod val="50000"/>
                  </a:schemeClr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que não estão incluídas na lista de produtos autorizados pela ANVISA; </a:t>
            </a:r>
          </a:p>
          <a:p>
            <a:pPr marL="457200" indent="-457200" algn="just"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pt-BR" dirty="0">
                <a:solidFill>
                  <a:schemeClr val="bg1">
                    <a:lumMod val="50000"/>
                  </a:schemeClr>
                </a:solidFill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C</a:t>
            </a:r>
            <a:r>
              <a:rPr lang="pt-BR" dirty="0">
                <a:solidFill>
                  <a:schemeClr val="bg1">
                    <a:lumMod val="50000"/>
                  </a:schemeClr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omercialização de </a:t>
            </a:r>
            <a:r>
              <a:rPr lang="pt-BR" b="1" dirty="0">
                <a:solidFill>
                  <a:schemeClr val="bg1">
                    <a:lumMod val="50000"/>
                  </a:schemeClr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maquiagens infantis</a:t>
            </a:r>
            <a:r>
              <a:rPr lang="pt-BR" dirty="0">
                <a:solidFill>
                  <a:schemeClr val="bg1">
                    <a:lumMod val="50000"/>
                  </a:schemeClr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 sem registro da ANVISA aparente; e </a:t>
            </a:r>
          </a:p>
          <a:p>
            <a:pPr marL="457200" indent="-457200" algn="just">
              <a:spcBef>
                <a:spcPts val="12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pt-BR" dirty="0">
                <a:solidFill>
                  <a:schemeClr val="bg1">
                    <a:lumMod val="50000"/>
                  </a:schemeClr>
                </a:solidFill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C</a:t>
            </a:r>
            <a:r>
              <a:rPr lang="pt-BR" dirty="0">
                <a:solidFill>
                  <a:schemeClr val="bg1">
                    <a:lumMod val="50000"/>
                  </a:schemeClr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omercialização de produtos destinados ao público infantil, contendo </a:t>
            </a:r>
            <a:r>
              <a:rPr lang="pt-BR" b="1" dirty="0">
                <a:solidFill>
                  <a:schemeClr val="bg1">
                    <a:lumMod val="50000"/>
                  </a:schemeClr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aviso para uso de público</a:t>
            </a:r>
            <a:r>
              <a:rPr lang="pt-BR" dirty="0">
                <a:solidFill>
                  <a:schemeClr val="bg1">
                    <a:lumMod val="50000"/>
                  </a:schemeClr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 adolescente ou adulto, </a:t>
            </a:r>
            <a:r>
              <a:rPr lang="pt-BR" b="1" dirty="0">
                <a:solidFill>
                  <a:schemeClr val="bg1">
                    <a:lumMod val="50000"/>
                  </a:schemeClr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induzindo a erro</a:t>
            </a:r>
            <a:r>
              <a:rPr lang="pt-BR" dirty="0">
                <a:solidFill>
                  <a:schemeClr val="bg1">
                    <a:lumMod val="50000"/>
                  </a:schemeClr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  <a:cs typeface="Poppins" panose="00000500000000000000" pitchFamily="2" charset="0"/>
              </a:rPr>
              <a:t>.</a:t>
            </a:r>
          </a:p>
        </p:txBody>
      </p:sp>
      <p:sp>
        <p:nvSpPr>
          <p:cNvPr id="4" name="Google Shape;905;p4">
            <a:extLst>
              <a:ext uri="{FF2B5EF4-FFF2-40B4-BE49-F238E27FC236}">
                <a16:creationId xmlns:a16="http://schemas.microsoft.com/office/drawing/2014/main" id="{DE828056-881E-0D61-5114-2A5558900F45}"/>
              </a:ext>
            </a:extLst>
          </p:cNvPr>
          <p:cNvSpPr/>
          <p:nvPr/>
        </p:nvSpPr>
        <p:spPr>
          <a:xfrm>
            <a:off x="11588496" y="6467431"/>
            <a:ext cx="307094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20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036188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C3E088F7-D89C-BD35-EC28-5DC5055C935E}"/>
              </a:ext>
            </a:extLst>
          </p:cNvPr>
          <p:cNvSpPr/>
          <p:nvPr/>
        </p:nvSpPr>
        <p:spPr>
          <a:xfrm>
            <a:off x="3102023" y="69791"/>
            <a:ext cx="8950140" cy="669981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717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C9C02BA5-7197-D094-06B3-9683234775F9}"/>
              </a:ext>
            </a:extLst>
          </p:cNvPr>
          <p:cNvSpPr/>
          <p:nvPr/>
        </p:nvSpPr>
        <p:spPr>
          <a:xfrm>
            <a:off x="142939" y="69791"/>
            <a:ext cx="2903251" cy="6709115"/>
          </a:xfrm>
          <a:prstGeom prst="rect">
            <a:avLst/>
          </a:prstGeom>
          <a:solidFill>
            <a:srgbClr val="0562A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717" dirty="0"/>
          </a:p>
        </p:txBody>
      </p:sp>
      <p:sp>
        <p:nvSpPr>
          <p:cNvPr id="4" name="TextBox 12">
            <a:extLst>
              <a:ext uri="{FF2B5EF4-FFF2-40B4-BE49-F238E27FC236}">
                <a16:creationId xmlns:a16="http://schemas.microsoft.com/office/drawing/2014/main" id="{992AE661-8E4D-B2C1-2B0F-F4C2D5C855B5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8233115" y="3032751"/>
            <a:ext cx="6699810" cy="79250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en-US" altLang="pt-BR" sz="2291" b="1" dirty="0">
                <a:solidFill>
                  <a:srgbClr val="077EE3"/>
                </a:solidFill>
                <a:latin typeface="Poppins" pitchFamily="2" charset="0"/>
                <a:ea typeface="Noto Serif"/>
                <a:cs typeface="Poppins" pitchFamily="2" charset="0"/>
              </a:rPr>
              <a:t>O IMPACTOS DA ISENÇÃO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en-US" altLang="pt-BR" sz="2291" b="1" dirty="0">
                <a:solidFill>
                  <a:srgbClr val="077EE3"/>
                </a:solidFill>
                <a:latin typeface="Poppins" pitchFamily="2" charset="0"/>
                <a:ea typeface="Noto Serif"/>
                <a:cs typeface="Poppins" pitchFamily="2" charset="0"/>
              </a:rPr>
              <a:t> DAS VENDAS CROSS BORDER</a:t>
            </a:r>
            <a:endParaRPr lang="id-ID" altLang="pt-BR" sz="2291" b="1" dirty="0">
              <a:solidFill>
                <a:srgbClr val="077EE3"/>
              </a:solidFill>
              <a:latin typeface="Poppins" pitchFamily="2" charset="0"/>
              <a:ea typeface="Noto Serif"/>
              <a:cs typeface="Poppins" pitchFamily="2" charset="0"/>
            </a:endParaRP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98BDD3D8-E5EF-C493-301D-1D2822E7286E}"/>
              </a:ext>
            </a:extLst>
          </p:cNvPr>
          <p:cNvSpPr txBox="1"/>
          <p:nvPr/>
        </p:nvSpPr>
        <p:spPr>
          <a:xfrm>
            <a:off x="5265503" y="2777631"/>
            <a:ext cx="4826345" cy="114610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pt-BR" sz="1717" kern="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  <a:sym typeface="Georgia"/>
              </a:rPr>
              <a:t>Em caso de produção e comercialização nacional, seriam remunerados, </a:t>
            </a:r>
            <a:r>
              <a:rPr lang="pt-BR" sz="1717" b="1" kern="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  <a:sym typeface="Georgia"/>
              </a:rPr>
              <a:t>apenas pelo varejo</a:t>
            </a:r>
            <a:r>
              <a:rPr lang="pt-BR" sz="1717" kern="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  <a:sym typeface="Georgia"/>
              </a:rPr>
              <a:t>, </a:t>
            </a:r>
            <a:r>
              <a:rPr lang="pt-BR" sz="1717" b="1" kern="0" dirty="0">
                <a:solidFill>
                  <a:srgbClr val="0562AF"/>
                </a:solidFill>
                <a:latin typeface="Poppins" panose="00000500000000000000" pitchFamily="2" charset="0"/>
                <a:cs typeface="Poppins" panose="00000500000000000000" pitchFamily="2" charset="0"/>
                <a:sym typeface="Georgia"/>
              </a:rPr>
              <a:t>mais de R$ 6.7 bilhões </a:t>
            </a:r>
            <a:r>
              <a:rPr lang="pt-BR" sz="1717" kern="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  <a:sym typeface="Georgia"/>
              </a:rPr>
              <a:t>em salários para empregados diretos.</a:t>
            </a:r>
            <a:endParaRPr lang="pt-BR" sz="1717" kern="0" dirty="0">
              <a:solidFill>
                <a:schemeClr val="bg1">
                  <a:lumMod val="65000"/>
                </a:schemeClr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" name="CaixaDeTexto 19">
            <a:extLst>
              <a:ext uri="{FF2B5EF4-FFF2-40B4-BE49-F238E27FC236}">
                <a16:creationId xmlns:a16="http://schemas.microsoft.com/office/drawing/2014/main" id="{6A1AD140-A085-B47F-3813-89559997D60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8625" y="1761803"/>
            <a:ext cx="2476759" cy="2818720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872816">
              <a:lnSpc>
                <a:spcPct val="150000"/>
              </a:lnSpc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pt-BR" sz="2000" b="1" kern="0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Georgia"/>
              </a:rPr>
              <a:t>Impacto da manutenção da isenção das vendas </a:t>
            </a:r>
          </a:p>
          <a:p>
            <a:pPr defTabSz="872816">
              <a:lnSpc>
                <a:spcPct val="150000"/>
              </a:lnSpc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pt-BR" sz="2000" b="1" kern="0" dirty="0" err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Georgia"/>
              </a:rPr>
              <a:t>cross</a:t>
            </a:r>
            <a:r>
              <a:rPr lang="pt-BR" sz="2000" b="1" kern="0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Georgia"/>
              </a:rPr>
              <a:t> </a:t>
            </a:r>
            <a:r>
              <a:rPr lang="pt-BR" sz="2000" b="1" kern="0" dirty="0" err="1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Georgia"/>
              </a:rPr>
              <a:t>border</a:t>
            </a:r>
            <a:r>
              <a:rPr lang="pt-BR" sz="2000" b="1" kern="0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Georgia"/>
              </a:rPr>
              <a:t> </a:t>
            </a:r>
          </a:p>
          <a:p>
            <a:pPr defTabSz="872816">
              <a:lnSpc>
                <a:spcPct val="150000"/>
              </a:lnSpc>
              <a:spcBef>
                <a:spcPts val="0"/>
              </a:spcBef>
              <a:buClr>
                <a:srgbClr val="000000"/>
              </a:buClr>
              <a:buNone/>
              <a:defRPr/>
            </a:pPr>
            <a:r>
              <a:rPr lang="pt-BR" sz="2000" b="1" kern="0" dirty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Georgia"/>
              </a:rPr>
              <a:t>em 2023</a:t>
            </a:r>
            <a:endParaRPr lang="pt-BR" sz="2000" kern="0" dirty="0">
              <a:solidFill>
                <a:srgbClr val="000000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</p:txBody>
      </p:sp>
      <p:pic>
        <p:nvPicPr>
          <p:cNvPr id="34823" name="Imagem 3" descr="Logotipo, nome da empresa&#10;&#10;Descrição gerada automaticamente">
            <a:extLst>
              <a:ext uri="{FF2B5EF4-FFF2-40B4-BE49-F238E27FC236}">
                <a16:creationId xmlns:a16="http://schemas.microsoft.com/office/drawing/2014/main" id="{51A6FD5E-0AC6-6E65-E982-B70BB2ADA9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318" y="376865"/>
            <a:ext cx="1274825" cy="1122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Imagem 7">
            <a:extLst>
              <a:ext uri="{FF2B5EF4-FFF2-40B4-BE49-F238E27FC236}">
                <a16:creationId xmlns:a16="http://schemas.microsoft.com/office/drawing/2014/main" id="{FDDC5F32-4224-772B-7EBF-0C586BD23659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985937" y="1180428"/>
            <a:ext cx="1074552" cy="1074552"/>
          </a:xfrm>
          <a:prstGeom prst="rect">
            <a:avLst/>
          </a:prstGeom>
        </p:spPr>
      </p:pic>
      <p:sp>
        <p:nvSpPr>
          <p:cNvPr id="9" name="Rectangle 16">
            <a:extLst>
              <a:ext uri="{FF2B5EF4-FFF2-40B4-BE49-F238E27FC236}">
                <a16:creationId xmlns:a16="http://schemas.microsoft.com/office/drawing/2014/main" id="{3BB4DCE7-5454-5183-AD02-5C015BB77BB0}"/>
              </a:ext>
            </a:extLst>
          </p:cNvPr>
          <p:cNvSpPr/>
          <p:nvPr/>
        </p:nvSpPr>
        <p:spPr>
          <a:xfrm>
            <a:off x="5265504" y="1347718"/>
            <a:ext cx="4826344" cy="885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pt-BR" sz="1717" kern="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  <a:sym typeface="Georgia"/>
              </a:rPr>
              <a:t>Em 2023, aproximadamente                 </a:t>
            </a:r>
            <a:r>
              <a:rPr lang="pt-BR" sz="1717" b="1" kern="0" dirty="0">
                <a:solidFill>
                  <a:srgbClr val="0562AF"/>
                </a:solidFill>
                <a:latin typeface="Poppins" panose="00000500000000000000" pitchFamily="2" charset="0"/>
                <a:cs typeface="Poppins" panose="00000500000000000000" pitchFamily="2" charset="0"/>
                <a:sym typeface="Georgia"/>
              </a:rPr>
              <a:t>554.2 mil empregos </a:t>
            </a:r>
            <a:r>
              <a:rPr lang="pt-BR" sz="1717" kern="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  <a:sym typeface="Georgia"/>
              </a:rPr>
              <a:t>poderão ser perdidos (entre diretos, indiretos e efeito-renda)</a:t>
            </a:r>
            <a:endParaRPr lang="pt-BR" sz="1717" dirty="0">
              <a:solidFill>
                <a:schemeClr val="bg1">
                  <a:lumMod val="65000"/>
                </a:schemeClr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0F768522-41CE-FA9B-8481-4515272CFB87}"/>
              </a:ext>
            </a:extLst>
          </p:cNvPr>
          <p:cNvSpPr txBox="1"/>
          <p:nvPr/>
        </p:nvSpPr>
        <p:spPr>
          <a:xfrm>
            <a:off x="3472684" y="6333803"/>
            <a:ext cx="7545040" cy="28822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pt-BR" sz="1273" dirty="0">
                <a:solidFill>
                  <a:schemeClr val="bg1">
                    <a:lumMod val="50000"/>
                  </a:schemeClr>
                </a:solidFill>
                <a:latin typeface="Poppins" pitchFamily="2" charset="77"/>
                <a:cs typeface="Poppins" pitchFamily="2" charset="77"/>
              </a:rPr>
              <a:t>IDV – Instituto para Desenvolvimento do Varejo</a:t>
            </a:r>
          </a:p>
        </p:txBody>
      </p:sp>
      <p:cxnSp>
        <p:nvCxnSpPr>
          <p:cNvPr id="11" name="Conector Reto 64">
            <a:extLst>
              <a:ext uri="{FF2B5EF4-FFF2-40B4-BE49-F238E27FC236}">
                <a16:creationId xmlns:a16="http://schemas.microsoft.com/office/drawing/2014/main" id="{4D88546B-DDFF-4505-AB2D-2DAAFD939784}"/>
              </a:ext>
            </a:extLst>
          </p:cNvPr>
          <p:cNvCxnSpPr>
            <a:cxnSpLocks/>
          </p:cNvCxnSpPr>
          <p:nvPr/>
        </p:nvCxnSpPr>
        <p:spPr>
          <a:xfrm>
            <a:off x="3522312" y="6291929"/>
            <a:ext cx="6504399" cy="26365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áfico 48" descr="Fábrica estrutura de tópicos">
            <a:extLst>
              <a:ext uri="{FF2B5EF4-FFF2-40B4-BE49-F238E27FC236}">
                <a16:creationId xmlns:a16="http://schemas.microsoft.com/office/drawing/2014/main" id="{1FDE1582-889D-C1AD-9943-4D2A2BE346F3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4150348" y="2725421"/>
            <a:ext cx="910141" cy="910141"/>
          </a:xfrm>
          <a:prstGeom prst="rect">
            <a:avLst/>
          </a:prstGeom>
        </p:spPr>
      </p:pic>
      <p:sp>
        <p:nvSpPr>
          <p:cNvPr id="13" name="CaixaDeTexto 12">
            <a:extLst>
              <a:ext uri="{FF2B5EF4-FFF2-40B4-BE49-F238E27FC236}">
                <a16:creationId xmlns:a16="http://schemas.microsoft.com/office/drawing/2014/main" id="{E116C19C-3898-BDD4-2ED1-AC52609E867B}"/>
              </a:ext>
            </a:extLst>
          </p:cNvPr>
          <p:cNvSpPr txBox="1"/>
          <p:nvPr/>
        </p:nvSpPr>
        <p:spPr>
          <a:xfrm>
            <a:off x="5265503" y="4640239"/>
            <a:ext cx="4826345" cy="114765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pt-BR" sz="1717" b="1" kern="0" dirty="0">
                <a:solidFill>
                  <a:srgbClr val="0562AF"/>
                </a:solidFill>
                <a:latin typeface="Poppins" panose="00000500000000000000" pitchFamily="2" charset="0"/>
                <a:cs typeface="Poppins" panose="00000500000000000000" pitchFamily="2" charset="0"/>
                <a:sym typeface="Georgia"/>
              </a:rPr>
              <a:t>Mais de R$ 65 bilhões </a:t>
            </a:r>
            <a:r>
              <a:rPr lang="pt-BR" sz="1717" kern="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  <a:sym typeface="Georgia"/>
              </a:rPr>
              <a:t>deixarão de ser arrecadados de impostos com importações só em 2023 </a:t>
            </a:r>
            <a:r>
              <a:rPr lang="pt-BR" sz="1172" kern="0" dirty="0">
                <a:solidFill>
                  <a:schemeClr val="bg1">
                    <a:lumMod val="6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  <a:sym typeface="Georgia"/>
              </a:rPr>
              <a:t>(II, ICMS e IOF)</a:t>
            </a:r>
            <a:endParaRPr lang="pt-BR" sz="1172" kern="0" dirty="0">
              <a:solidFill>
                <a:schemeClr val="bg1">
                  <a:lumMod val="65000"/>
                </a:schemeClr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>
              <a:defRPr/>
            </a:pPr>
            <a:endParaRPr lang="pt-BR" sz="1717" dirty="0">
              <a:solidFill>
                <a:schemeClr val="bg1">
                  <a:lumMod val="65000"/>
                </a:schemeClr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14" name="Gráfico 43" descr="Dinheiro com preenchimento sólido">
            <a:extLst>
              <a:ext uri="{FF2B5EF4-FFF2-40B4-BE49-F238E27FC236}">
                <a16:creationId xmlns:a16="http://schemas.microsoft.com/office/drawing/2014/main" id="{E0327186-00CE-4C60-68AC-B10EC2C7F5F9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4186544" y="4546361"/>
            <a:ext cx="849102" cy="849102"/>
          </a:xfrm>
          <a:prstGeom prst="rect">
            <a:avLst/>
          </a:prstGeom>
        </p:spPr>
      </p:pic>
      <p:sp>
        <p:nvSpPr>
          <p:cNvPr id="7" name="Google Shape;905;p4">
            <a:extLst>
              <a:ext uri="{FF2B5EF4-FFF2-40B4-BE49-F238E27FC236}">
                <a16:creationId xmlns:a16="http://schemas.microsoft.com/office/drawing/2014/main" id="{9FE147E0-6B5D-DB7F-0614-E152E4B54D67}"/>
              </a:ext>
            </a:extLst>
          </p:cNvPr>
          <p:cNvSpPr/>
          <p:nvPr/>
        </p:nvSpPr>
        <p:spPr>
          <a:xfrm>
            <a:off x="11588496" y="6467431"/>
            <a:ext cx="307094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21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2" name="Google Shape;1462;p36"/>
          <p:cNvSpPr txBox="1">
            <a:spLocks noGrp="1"/>
          </p:cNvSpPr>
          <p:nvPr>
            <p:ph type="title"/>
          </p:nvPr>
        </p:nvSpPr>
        <p:spPr>
          <a:xfrm>
            <a:off x="431515" y="1669263"/>
            <a:ext cx="7808288" cy="13623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Georgia"/>
              <a:buNone/>
            </a:pPr>
            <a:r>
              <a:rPr lang="pt-BR" sz="4000" dirty="0">
                <a:solidFill>
                  <a:schemeClr val="bg1"/>
                </a:solidFill>
              </a:rPr>
              <a:t>Obrigado.</a:t>
            </a:r>
            <a:endParaRPr sz="2800" dirty="0">
              <a:solidFill>
                <a:schemeClr val="bg1"/>
              </a:solidFill>
            </a:endParaRPr>
          </a:p>
        </p:txBody>
      </p:sp>
      <p:sp>
        <p:nvSpPr>
          <p:cNvPr id="1463" name="Google Shape;1463;p36"/>
          <p:cNvSpPr/>
          <p:nvPr/>
        </p:nvSpPr>
        <p:spPr>
          <a:xfrm>
            <a:off x="431515" y="5650787"/>
            <a:ext cx="5270642" cy="1022057"/>
          </a:xfrm>
          <a:prstGeom prst="rect">
            <a:avLst/>
          </a:prstGeom>
          <a:solidFill>
            <a:srgbClr val="051C2C"/>
          </a:solidFill>
          <a:ln w="9525" cap="sq" cmpd="sng">
            <a:solidFill>
              <a:srgbClr val="051C2C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64" name="Google Shape;1464;p36" descr="Logotipo, nome da empresa&#10;&#10;Descrição gerada automaticament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31515" y="3260222"/>
            <a:ext cx="2901593" cy="290159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2" name="Google Shape;872;p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3" name="Google Shape;873;p2"/>
          <p:cNvSpPr txBox="1"/>
          <p:nvPr/>
        </p:nvSpPr>
        <p:spPr>
          <a:xfrm>
            <a:off x="603505" y="4649026"/>
            <a:ext cx="7247083" cy="12926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800"/>
              <a:buFont typeface="Georgia"/>
              <a:buNone/>
              <a:tabLst/>
              <a:defRPr/>
            </a:pPr>
            <a:r>
              <a:rPr kumimoji="0" lang="pt-BR" sz="2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O IDV nasceu em 2004 para fortalecer a representação de empresas varejistas de diferentes setores de atuação nacional.</a:t>
            </a:r>
            <a:endParaRPr kumimoji="0" sz="2800" b="0" i="0" u="none" strike="noStrike" kern="0" cap="none" spc="0" normalizeH="0" baseline="0" noProof="0" dirty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874" name="Google Shape;874;p2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  <a:tabLst/>
                <a:defRPr/>
              </a:pPr>
              <a:t>3</a:t>
            </a:fld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75" name="Google Shape;875;p2"/>
          <p:cNvPicPr preferRelativeResize="0"/>
          <p:nvPr/>
        </p:nvPicPr>
        <p:blipFill rotWithShape="1">
          <a:blip r:embed="rId3">
            <a:alphaModFix/>
          </a:blip>
          <a:srcRect t="20421"/>
          <a:stretch/>
        </p:blipFill>
        <p:spPr>
          <a:xfrm>
            <a:off x="603505" y="636856"/>
            <a:ext cx="7380937" cy="3643065"/>
          </a:xfrm>
          <a:prstGeom prst="rect">
            <a:avLst/>
          </a:prstGeom>
          <a:noFill/>
          <a:ln>
            <a:noFill/>
          </a:ln>
        </p:spPr>
      </p:pic>
      <p:pic>
        <p:nvPicPr>
          <p:cNvPr id="876" name="Google Shape;876;p2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587946" y="1"/>
            <a:ext cx="3604053" cy="6857999"/>
          </a:xfrm>
          <a:prstGeom prst="rect">
            <a:avLst/>
          </a:prstGeom>
          <a:noFill/>
          <a:ln>
            <a:noFill/>
          </a:ln>
        </p:spPr>
      </p:pic>
      <p:pic>
        <p:nvPicPr>
          <p:cNvPr id="877" name="Google Shape;877;p2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229766" y="3974603"/>
            <a:ext cx="2358729" cy="199584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905;p4">
            <a:extLst>
              <a:ext uri="{FF2B5EF4-FFF2-40B4-BE49-F238E27FC236}">
                <a16:creationId xmlns:a16="http://schemas.microsoft.com/office/drawing/2014/main" id="{35A5BD1D-DAF4-EB3F-C806-ACC875C4A17E}"/>
              </a:ext>
            </a:extLst>
          </p:cNvPr>
          <p:cNvSpPr/>
          <p:nvPr/>
        </p:nvSpPr>
        <p:spPr>
          <a:xfrm>
            <a:off x="11588495" y="6467431"/>
            <a:ext cx="325501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3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01" name="Google Shape;901;p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779757" y="0"/>
            <a:ext cx="3412243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902" name="Google Shape;902;p4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4</a:t>
            </a:fld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3" name="Google Shape;903;p4"/>
          <p:cNvSpPr/>
          <p:nvPr/>
        </p:nvSpPr>
        <p:spPr>
          <a:xfrm>
            <a:off x="8567530" y="0"/>
            <a:ext cx="362447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04" name="Google Shape;904;p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10485878" y="220747"/>
            <a:ext cx="1455505" cy="1231581"/>
          </a:xfrm>
          <a:prstGeom prst="rect">
            <a:avLst/>
          </a:prstGeom>
          <a:noFill/>
          <a:ln>
            <a:noFill/>
          </a:ln>
        </p:spPr>
      </p:pic>
      <p:sp>
        <p:nvSpPr>
          <p:cNvPr id="905" name="Google Shape;905;p4"/>
          <p:cNvSpPr/>
          <p:nvPr/>
        </p:nvSpPr>
        <p:spPr>
          <a:xfrm>
            <a:off x="11588495" y="6467431"/>
            <a:ext cx="325501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4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06" name="Google Shape;906;p4"/>
          <p:cNvSpPr txBox="1"/>
          <p:nvPr/>
        </p:nvSpPr>
        <p:spPr>
          <a:xfrm>
            <a:off x="8779756" y="2990029"/>
            <a:ext cx="3412243" cy="26014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Arial"/>
              <a:buNone/>
              <a:tabLst/>
              <a:defRPr/>
            </a:pPr>
            <a:r>
              <a:rPr kumimoji="0" lang="pt-BR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71 empresas varejistas de diversos setor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Arial"/>
              <a:buNone/>
              <a:tabLst/>
              <a:defRPr/>
            </a:pPr>
            <a:r>
              <a:rPr kumimoji="0" lang="pt-BR" sz="2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em todo o Brasil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/>
              <a:ea typeface="Georgia"/>
              <a:cs typeface="Georgia"/>
              <a:sym typeface="Georgia"/>
            </a:endParaRPr>
          </a:p>
          <a:p>
            <a:pPr marL="228600" marR="0" lvl="0" indent="-762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Font typeface="Arial"/>
              <a:buNone/>
              <a:tabLst/>
              <a:defRPr/>
            </a:pP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908" name="Google Shape;908;p4"/>
          <p:cNvSpPr txBox="1"/>
          <p:nvPr/>
        </p:nvSpPr>
        <p:spPr>
          <a:xfrm>
            <a:off x="427397" y="489728"/>
            <a:ext cx="4435840" cy="4379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66666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ts val="3600"/>
              <a:buFont typeface="Arial"/>
              <a:buNone/>
              <a:tabLst/>
              <a:defRPr/>
            </a:pPr>
            <a:r>
              <a:rPr kumimoji="0" lang="pt-BR" sz="3600" b="1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71 empresas</a:t>
            </a:r>
            <a:endParaRPr kumimoji="0" sz="3600" b="0" i="0" u="none" strike="noStrike" kern="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/>
              <a:ea typeface="Georgia"/>
              <a:cs typeface="Georgia"/>
              <a:sym typeface="Georgia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112C9459-2BC7-1338-CBCB-1AEFEAC3881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0644" y="1320123"/>
            <a:ext cx="7776269" cy="4911738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5" name="Google Shape;915;p5"/>
          <p:cNvSpPr/>
          <p:nvPr/>
        </p:nvSpPr>
        <p:spPr>
          <a:xfrm>
            <a:off x="1247" y="0"/>
            <a:ext cx="12192000" cy="6858000"/>
          </a:xfrm>
          <a:prstGeom prst="rect">
            <a:avLst/>
          </a:prstGeom>
          <a:solidFill>
            <a:srgbClr val="051C2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ts val="1600"/>
              <a:buFont typeface="Arial"/>
              <a:buNone/>
              <a:tabLst/>
              <a:defRPr/>
            </a:pP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no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16" name="Google Shape;916;p5"/>
          <p:cNvSpPr txBox="1">
            <a:spLocks noGrp="1"/>
          </p:cNvSpPr>
          <p:nvPr>
            <p:ph type="title"/>
          </p:nvPr>
        </p:nvSpPr>
        <p:spPr>
          <a:xfrm>
            <a:off x="596766" y="169959"/>
            <a:ext cx="11528178" cy="731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Georgia"/>
              <a:buNone/>
            </a:pPr>
            <a:r>
              <a:rPr lang="pt-BR" sz="2800">
                <a:solidFill>
                  <a:schemeClr val="lt1"/>
                </a:solidFill>
              </a:rPr>
              <a:t>Representatividade  IDV</a:t>
            </a:r>
            <a:endParaRPr/>
          </a:p>
        </p:txBody>
      </p:sp>
      <p:cxnSp>
        <p:nvCxnSpPr>
          <p:cNvPr id="917" name="Google Shape;917;p5"/>
          <p:cNvCxnSpPr/>
          <p:nvPr/>
        </p:nvCxnSpPr>
        <p:spPr>
          <a:xfrm>
            <a:off x="554734" y="1007654"/>
            <a:ext cx="11637266" cy="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9" name="Google Shape;919;p5"/>
          <p:cNvSpPr txBox="1"/>
          <p:nvPr/>
        </p:nvSpPr>
        <p:spPr>
          <a:xfrm>
            <a:off x="1962364" y="6524090"/>
            <a:ext cx="1818526" cy="2568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0" name="Google Shape;920;p5"/>
          <p:cNvSpPr txBox="1"/>
          <p:nvPr/>
        </p:nvSpPr>
        <p:spPr>
          <a:xfrm>
            <a:off x="1602769" y="5824279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22" name="Google Shape;922;p5"/>
          <p:cNvGrpSpPr/>
          <p:nvPr/>
        </p:nvGrpSpPr>
        <p:grpSpPr>
          <a:xfrm>
            <a:off x="3595730" y="5208598"/>
            <a:ext cx="2290445" cy="1215281"/>
            <a:chOff x="4678305" y="5083609"/>
            <a:chExt cx="2290445" cy="976630"/>
          </a:xfrm>
        </p:grpSpPr>
        <p:sp>
          <p:nvSpPr>
            <p:cNvPr id="923" name="Google Shape;923;p5"/>
            <p:cNvSpPr/>
            <p:nvPr/>
          </p:nvSpPr>
          <p:spPr>
            <a:xfrm>
              <a:off x="4678305" y="5083609"/>
              <a:ext cx="2290445" cy="976630"/>
            </a:xfrm>
            <a:custGeom>
              <a:avLst/>
              <a:gdLst/>
              <a:ahLst/>
              <a:cxnLst/>
              <a:rect l="l" t="t" r="r" b="b"/>
              <a:pathLst>
                <a:path w="2290445" h="976629" extrusionOk="0">
                  <a:moveTo>
                    <a:pt x="2127455" y="0"/>
                  </a:moveTo>
                  <a:lnTo>
                    <a:pt x="162737" y="0"/>
                  </a:lnTo>
                  <a:lnTo>
                    <a:pt x="119475" y="5813"/>
                  </a:lnTo>
                  <a:lnTo>
                    <a:pt x="80600" y="22218"/>
                  </a:lnTo>
                  <a:lnTo>
                    <a:pt x="47664" y="47665"/>
                  </a:lnTo>
                  <a:lnTo>
                    <a:pt x="22218" y="80601"/>
                  </a:lnTo>
                  <a:lnTo>
                    <a:pt x="5813" y="119476"/>
                  </a:lnTo>
                  <a:lnTo>
                    <a:pt x="0" y="162739"/>
                  </a:lnTo>
                  <a:lnTo>
                    <a:pt x="0" y="813680"/>
                  </a:lnTo>
                  <a:lnTo>
                    <a:pt x="5813" y="856942"/>
                  </a:lnTo>
                  <a:lnTo>
                    <a:pt x="22218" y="895817"/>
                  </a:lnTo>
                  <a:lnTo>
                    <a:pt x="47664" y="928753"/>
                  </a:lnTo>
                  <a:lnTo>
                    <a:pt x="80600" y="954200"/>
                  </a:lnTo>
                  <a:lnTo>
                    <a:pt x="119475" y="970605"/>
                  </a:lnTo>
                  <a:lnTo>
                    <a:pt x="162737" y="976418"/>
                  </a:lnTo>
                  <a:lnTo>
                    <a:pt x="2127455" y="976418"/>
                  </a:lnTo>
                  <a:lnTo>
                    <a:pt x="2170717" y="970605"/>
                  </a:lnTo>
                  <a:lnTo>
                    <a:pt x="2209592" y="954200"/>
                  </a:lnTo>
                  <a:lnTo>
                    <a:pt x="2242528" y="928753"/>
                  </a:lnTo>
                  <a:lnTo>
                    <a:pt x="2267975" y="895817"/>
                  </a:lnTo>
                  <a:lnTo>
                    <a:pt x="2284380" y="856942"/>
                  </a:lnTo>
                  <a:lnTo>
                    <a:pt x="2290193" y="813680"/>
                  </a:lnTo>
                  <a:lnTo>
                    <a:pt x="2290193" y="162739"/>
                  </a:lnTo>
                  <a:lnTo>
                    <a:pt x="2284380" y="119476"/>
                  </a:lnTo>
                  <a:lnTo>
                    <a:pt x="2267975" y="80601"/>
                  </a:lnTo>
                  <a:lnTo>
                    <a:pt x="2242528" y="47665"/>
                  </a:lnTo>
                  <a:lnTo>
                    <a:pt x="2209592" y="22218"/>
                  </a:lnTo>
                  <a:lnTo>
                    <a:pt x="2170717" y="5813"/>
                  </a:lnTo>
                  <a:lnTo>
                    <a:pt x="2127455" y="0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4" name="Google Shape;924;p5"/>
            <p:cNvSpPr/>
            <p:nvPr/>
          </p:nvSpPr>
          <p:spPr>
            <a:xfrm>
              <a:off x="4678305" y="5083609"/>
              <a:ext cx="2290445" cy="976630"/>
            </a:xfrm>
            <a:custGeom>
              <a:avLst/>
              <a:gdLst/>
              <a:ahLst/>
              <a:cxnLst/>
              <a:rect l="l" t="t" r="r" b="b"/>
              <a:pathLst>
                <a:path w="2290445" h="976629" extrusionOk="0">
                  <a:moveTo>
                    <a:pt x="0" y="162738"/>
                  </a:moveTo>
                  <a:lnTo>
                    <a:pt x="5813" y="119476"/>
                  </a:lnTo>
                  <a:lnTo>
                    <a:pt x="22218" y="80601"/>
                  </a:lnTo>
                  <a:lnTo>
                    <a:pt x="47664" y="47664"/>
                  </a:lnTo>
                  <a:lnTo>
                    <a:pt x="80601" y="22218"/>
                  </a:lnTo>
                  <a:lnTo>
                    <a:pt x="119475" y="5813"/>
                  </a:lnTo>
                  <a:lnTo>
                    <a:pt x="162738" y="0"/>
                  </a:lnTo>
                  <a:lnTo>
                    <a:pt x="2127456" y="0"/>
                  </a:lnTo>
                  <a:lnTo>
                    <a:pt x="2170718" y="5813"/>
                  </a:lnTo>
                  <a:lnTo>
                    <a:pt x="2209593" y="22218"/>
                  </a:lnTo>
                  <a:lnTo>
                    <a:pt x="2242529" y="47664"/>
                  </a:lnTo>
                  <a:lnTo>
                    <a:pt x="2267975" y="80601"/>
                  </a:lnTo>
                  <a:lnTo>
                    <a:pt x="2284380" y="119476"/>
                  </a:lnTo>
                  <a:lnTo>
                    <a:pt x="2290194" y="162738"/>
                  </a:lnTo>
                  <a:lnTo>
                    <a:pt x="2290194" y="813679"/>
                  </a:lnTo>
                  <a:lnTo>
                    <a:pt x="2284380" y="856941"/>
                  </a:lnTo>
                  <a:lnTo>
                    <a:pt x="2267975" y="895816"/>
                  </a:lnTo>
                  <a:lnTo>
                    <a:pt x="2242529" y="928753"/>
                  </a:lnTo>
                  <a:lnTo>
                    <a:pt x="2209593" y="954199"/>
                  </a:lnTo>
                  <a:lnTo>
                    <a:pt x="2170718" y="970604"/>
                  </a:lnTo>
                  <a:lnTo>
                    <a:pt x="2127456" y="976418"/>
                  </a:lnTo>
                  <a:lnTo>
                    <a:pt x="162738" y="976418"/>
                  </a:lnTo>
                  <a:lnTo>
                    <a:pt x="119475" y="970604"/>
                  </a:lnTo>
                  <a:lnTo>
                    <a:pt x="80601" y="954199"/>
                  </a:lnTo>
                  <a:lnTo>
                    <a:pt x="47664" y="928753"/>
                  </a:lnTo>
                  <a:lnTo>
                    <a:pt x="22218" y="895816"/>
                  </a:lnTo>
                  <a:lnTo>
                    <a:pt x="5813" y="856941"/>
                  </a:lnTo>
                  <a:lnTo>
                    <a:pt x="0" y="813679"/>
                  </a:lnTo>
                  <a:lnTo>
                    <a:pt x="0" y="162738"/>
                  </a:lnTo>
                  <a:close/>
                </a:path>
              </a:pathLst>
            </a:custGeom>
            <a:noFill/>
            <a:ln w="12700" cap="flat" cmpd="sng">
              <a:solidFill>
                <a:srgbClr val="7F7F7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925" name="Google Shape;925;p5"/>
          <p:cNvGrpSpPr/>
          <p:nvPr/>
        </p:nvGrpSpPr>
        <p:grpSpPr>
          <a:xfrm>
            <a:off x="2355704" y="3854121"/>
            <a:ext cx="2290445" cy="1215281"/>
            <a:chOff x="4678305" y="5083609"/>
            <a:chExt cx="2290445" cy="976630"/>
          </a:xfrm>
        </p:grpSpPr>
        <p:sp>
          <p:nvSpPr>
            <p:cNvPr id="926" name="Google Shape;926;p5"/>
            <p:cNvSpPr/>
            <p:nvPr/>
          </p:nvSpPr>
          <p:spPr>
            <a:xfrm>
              <a:off x="4678305" y="5083609"/>
              <a:ext cx="2290445" cy="976630"/>
            </a:xfrm>
            <a:custGeom>
              <a:avLst/>
              <a:gdLst/>
              <a:ahLst/>
              <a:cxnLst/>
              <a:rect l="l" t="t" r="r" b="b"/>
              <a:pathLst>
                <a:path w="2290445" h="976629" extrusionOk="0">
                  <a:moveTo>
                    <a:pt x="2127455" y="0"/>
                  </a:moveTo>
                  <a:lnTo>
                    <a:pt x="162737" y="0"/>
                  </a:lnTo>
                  <a:lnTo>
                    <a:pt x="119475" y="5813"/>
                  </a:lnTo>
                  <a:lnTo>
                    <a:pt x="80600" y="22218"/>
                  </a:lnTo>
                  <a:lnTo>
                    <a:pt x="47664" y="47665"/>
                  </a:lnTo>
                  <a:lnTo>
                    <a:pt x="22218" y="80601"/>
                  </a:lnTo>
                  <a:lnTo>
                    <a:pt x="5813" y="119476"/>
                  </a:lnTo>
                  <a:lnTo>
                    <a:pt x="0" y="162739"/>
                  </a:lnTo>
                  <a:lnTo>
                    <a:pt x="0" y="813680"/>
                  </a:lnTo>
                  <a:lnTo>
                    <a:pt x="5813" y="856942"/>
                  </a:lnTo>
                  <a:lnTo>
                    <a:pt x="22218" y="895817"/>
                  </a:lnTo>
                  <a:lnTo>
                    <a:pt x="47664" y="928753"/>
                  </a:lnTo>
                  <a:lnTo>
                    <a:pt x="80600" y="954200"/>
                  </a:lnTo>
                  <a:lnTo>
                    <a:pt x="119475" y="970605"/>
                  </a:lnTo>
                  <a:lnTo>
                    <a:pt x="162737" y="976418"/>
                  </a:lnTo>
                  <a:lnTo>
                    <a:pt x="2127455" y="976418"/>
                  </a:lnTo>
                  <a:lnTo>
                    <a:pt x="2170717" y="970605"/>
                  </a:lnTo>
                  <a:lnTo>
                    <a:pt x="2209592" y="954200"/>
                  </a:lnTo>
                  <a:lnTo>
                    <a:pt x="2242528" y="928753"/>
                  </a:lnTo>
                  <a:lnTo>
                    <a:pt x="2267975" y="895817"/>
                  </a:lnTo>
                  <a:lnTo>
                    <a:pt x="2284380" y="856942"/>
                  </a:lnTo>
                  <a:lnTo>
                    <a:pt x="2290193" y="813680"/>
                  </a:lnTo>
                  <a:lnTo>
                    <a:pt x="2290193" y="162739"/>
                  </a:lnTo>
                  <a:lnTo>
                    <a:pt x="2284380" y="119476"/>
                  </a:lnTo>
                  <a:lnTo>
                    <a:pt x="2267975" y="80601"/>
                  </a:lnTo>
                  <a:lnTo>
                    <a:pt x="2242528" y="47665"/>
                  </a:lnTo>
                  <a:lnTo>
                    <a:pt x="2209592" y="22218"/>
                  </a:lnTo>
                  <a:lnTo>
                    <a:pt x="2170717" y="5813"/>
                  </a:lnTo>
                  <a:lnTo>
                    <a:pt x="2127455" y="0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27" name="Google Shape;927;p5"/>
            <p:cNvSpPr/>
            <p:nvPr/>
          </p:nvSpPr>
          <p:spPr>
            <a:xfrm>
              <a:off x="4678305" y="5083609"/>
              <a:ext cx="2290445" cy="976630"/>
            </a:xfrm>
            <a:custGeom>
              <a:avLst/>
              <a:gdLst/>
              <a:ahLst/>
              <a:cxnLst/>
              <a:rect l="l" t="t" r="r" b="b"/>
              <a:pathLst>
                <a:path w="2290445" h="976629" extrusionOk="0">
                  <a:moveTo>
                    <a:pt x="0" y="162738"/>
                  </a:moveTo>
                  <a:lnTo>
                    <a:pt x="5813" y="119476"/>
                  </a:lnTo>
                  <a:lnTo>
                    <a:pt x="22218" y="80601"/>
                  </a:lnTo>
                  <a:lnTo>
                    <a:pt x="47664" y="47664"/>
                  </a:lnTo>
                  <a:lnTo>
                    <a:pt x="80601" y="22218"/>
                  </a:lnTo>
                  <a:lnTo>
                    <a:pt x="119475" y="5813"/>
                  </a:lnTo>
                  <a:lnTo>
                    <a:pt x="162738" y="0"/>
                  </a:lnTo>
                  <a:lnTo>
                    <a:pt x="2127456" y="0"/>
                  </a:lnTo>
                  <a:lnTo>
                    <a:pt x="2170718" y="5813"/>
                  </a:lnTo>
                  <a:lnTo>
                    <a:pt x="2209593" y="22218"/>
                  </a:lnTo>
                  <a:lnTo>
                    <a:pt x="2242529" y="47664"/>
                  </a:lnTo>
                  <a:lnTo>
                    <a:pt x="2267975" y="80601"/>
                  </a:lnTo>
                  <a:lnTo>
                    <a:pt x="2284380" y="119476"/>
                  </a:lnTo>
                  <a:lnTo>
                    <a:pt x="2290194" y="162738"/>
                  </a:lnTo>
                  <a:lnTo>
                    <a:pt x="2290194" y="813679"/>
                  </a:lnTo>
                  <a:lnTo>
                    <a:pt x="2284380" y="856941"/>
                  </a:lnTo>
                  <a:lnTo>
                    <a:pt x="2267975" y="895816"/>
                  </a:lnTo>
                  <a:lnTo>
                    <a:pt x="2242529" y="928753"/>
                  </a:lnTo>
                  <a:lnTo>
                    <a:pt x="2209593" y="954199"/>
                  </a:lnTo>
                  <a:lnTo>
                    <a:pt x="2170718" y="970604"/>
                  </a:lnTo>
                  <a:lnTo>
                    <a:pt x="2127456" y="976418"/>
                  </a:lnTo>
                  <a:lnTo>
                    <a:pt x="162738" y="976418"/>
                  </a:lnTo>
                  <a:lnTo>
                    <a:pt x="119475" y="970604"/>
                  </a:lnTo>
                  <a:lnTo>
                    <a:pt x="80601" y="954199"/>
                  </a:lnTo>
                  <a:lnTo>
                    <a:pt x="47664" y="928753"/>
                  </a:lnTo>
                  <a:lnTo>
                    <a:pt x="22218" y="895816"/>
                  </a:lnTo>
                  <a:lnTo>
                    <a:pt x="5813" y="856941"/>
                  </a:lnTo>
                  <a:lnTo>
                    <a:pt x="0" y="813679"/>
                  </a:lnTo>
                  <a:lnTo>
                    <a:pt x="0" y="162738"/>
                  </a:lnTo>
                  <a:close/>
                </a:path>
              </a:pathLst>
            </a:custGeom>
            <a:noFill/>
            <a:ln w="12700" cap="flat" cmpd="sng">
              <a:solidFill>
                <a:srgbClr val="7F7F7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28" name="Google Shape;928;p5"/>
          <p:cNvSpPr/>
          <p:nvPr/>
        </p:nvSpPr>
        <p:spPr>
          <a:xfrm>
            <a:off x="2416977" y="2490395"/>
            <a:ext cx="2290445" cy="1215281"/>
          </a:xfrm>
          <a:custGeom>
            <a:avLst/>
            <a:gdLst/>
            <a:ahLst/>
            <a:cxnLst/>
            <a:rect l="l" t="t" r="r" b="b"/>
            <a:pathLst>
              <a:path w="2290445" h="976629" extrusionOk="0">
                <a:moveTo>
                  <a:pt x="2127455" y="0"/>
                </a:moveTo>
                <a:lnTo>
                  <a:pt x="162737" y="0"/>
                </a:lnTo>
                <a:lnTo>
                  <a:pt x="119475" y="5813"/>
                </a:lnTo>
                <a:lnTo>
                  <a:pt x="80600" y="22218"/>
                </a:lnTo>
                <a:lnTo>
                  <a:pt x="47664" y="47665"/>
                </a:lnTo>
                <a:lnTo>
                  <a:pt x="22218" y="80601"/>
                </a:lnTo>
                <a:lnTo>
                  <a:pt x="5813" y="119476"/>
                </a:lnTo>
                <a:lnTo>
                  <a:pt x="0" y="162739"/>
                </a:lnTo>
                <a:lnTo>
                  <a:pt x="0" y="813680"/>
                </a:lnTo>
                <a:lnTo>
                  <a:pt x="5813" y="856942"/>
                </a:lnTo>
                <a:lnTo>
                  <a:pt x="22218" y="895817"/>
                </a:lnTo>
                <a:lnTo>
                  <a:pt x="47664" y="928753"/>
                </a:lnTo>
                <a:lnTo>
                  <a:pt x="80600" y="954200"/>
                </a:lnTo>
                <a:lnTo>
                  <a:pt x="119475" y="970605"/>
                </a:lnTo>
                <a:lnTo>
                  <a:pt x="162737" y="976418"/>
                </a:lnTo>
                <a:lnTo>
                  <a:pt x="2127455" y="976418"/>
                </a:lnTo>
                <a:lnTo>
                  <a:pt x="2170717" y="970605"/>
                </a:lnTo>
                <a:lnTo>
                  <a:pt x="2209592" y="954200"/>
                </a:lnTo>
                <a:lnTo>
                  <a:pt x="2242528" y="928753"/>
                </a:lnTo>
                <a:lnTo>
                  <a:pt x="2267975" y="895817"/>
                </a:lnTo>
                <a:lnTo>
                  <a:pt x="2284380" y="856942"/>
                </a:lnTo>
                <a:lnTo>
                  <a:pt x="2290193" y="813680"/>
                </a:lnTo>
                <a:lnTo>
                  <a:pt x="2290193" y="162739"/>
                </a:lnTo>
                <a:lnTo>
                  <a:pt x="2284380" y="119476"/>
                </a:lnTo>
                <a:lnTo>
                  <a:pt x="2267975" y="80601"/>
                </a:lnTo>
                <a:lnTo>
                  <a:pt x="2242528" y="47665"/>
                </a:lnTo>
                <a:lnTo>
                  <a:pt x="2209592" y="22218"/>
                </a:lnTo>
                <a:lnTo>
                  <a:pt x="2170717" y="5813"/>
                </a:lnTo>
                <a:lnTo>
                  <a:pt x="2127455" y="0"/>
                </a:lnTo>
                <a:close/>
              </a:path>
            </a:pathLst>
          </a:custGeom>
          <a:solidFill>
            <a:srgbClr val="F2F2F2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9" name="Google Shape;929;p5"/>
          <p:cNvSpPr/>
          <p:nvPr/>
        </p:nvSpPr>
        <p:spPr>
          <a:xfrm>
            <a:off x="3562200" y="1126472"/>
            <a:ext cx="2290445" cy="1215281"/>
          </a:xfrm>
          <a:custGeom>
            <a:avLst/>
            <a:gdLst/>
            <a:ahLst/>
            <a:cxnLst/>
            <a:rect l="l" t="t" r="r" b="b"/>
            <a:pathLst>
              <a:path w="2290445" h="976629" extrusionOk="0">
                <a:moveTo>
                  <a:pt x="2127455" y="0"/>
                </a:moveTo>
                <a:lnTo>
                  <a:pt x="162737" y="0"/>
                </a:lnTo>
                <a:lnTo>
                  <a:pt x="119475" y="5813"/>
                </a:lnTo>
                <a:lnTo>
                  <a:pt x="80600" y="22218"/>
                </a:lnTo>
                <a:lnTo>
                  <a:pt x="47664" y="47665"/>
                </a:lnTo>
                <a:lnTo>
                  <a:pt x="22218" y="80601"/>
                </a:lnTo>
                <a:lnTo>
                  <a:pt x="5813" y="119476"/>
                </a:lnTo>
                <a:lnTo>
                  <a:pt x="0" y="162739"/>
                </a:lnTo>
                <a:lnTo>
                  <a:pt x="0" y="813680"/>
                </a:lnTo>
                <a:lnTo>
                  <a:pt x="5813" y="856942"/>
                </a:lnTo>
                <a:lnTo>
                  <a:pt x="22218" y="895817"/>
                </a:lnTo>
                <a:lnTo>
                  <a:pt x="47664" y="928753"/>
                </a:lnTo>
                <a:lnTo>
                  <a:pt x="80600" y="954200"/>
                </a:lnTo>
                <a:lnTo>
                  <a:pt x="119475" y="970605"/>
                </a:lnTo>
                <a:lnTo>
                  <a:pt x="162737" y="976418"/>
                </a:lnTo>
                <a:lnTo>
                  <a:pt x="2127455" y="976418"/>
                </a:lnTo>
                <a:lnTo>
                  <a:pt x="2170717" y="970605"/>
                </a:lnTo>
                <a:lnTo>
                  <a:pt x="2209592" y="954200"/>
                </a:lnTo>
                <a:lnTo>
                  <a:pt x="2242528" y="928753"/>
                </a:lnTo>
                <a:lnTo>
                  <a:pt x="2267975" y="895817"/>
                </a:lnTo>
                <a:lnTo>
                  <a:pt x="2284380" y="856942"/>
                </a:lnTo>
                <a:lnTo>
                  <a:pt x="2290193" y="813680"/>
                </a:lnTo>
                <a:lnTo>
                  <a:pt x="2290193" y="162739"/>
                </a:lnTo>
                <a:lnTo>
                  <a:pt x="2284380" y="119476"/>
                </a:lnTo>
                <a:lnTo>
                  <a:pt x="2267975" y="80601"/>
                </a:lnTo>
                <a:lnTo>
                  <a:pt x="2242528" y="47665"/>
                </a:lnTo>
                <a:lnTo>
                  <a:pt x="2209592" y="22218"/>
                </a:lnTo>
                <a:lnTo>
                  <a:pt x="2170717" y="5813"/>
                </a:lnTo>
                <a:lnTo>
                  <a:pt x="2127455" y="0"/>
                </a:lnTo>
                <a:close/>
              </a:path>
            </a:pathLst>
          </a:custGeom>
          <a:solidFill>
            <a:srgbClr val="F2F2F2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0" name="Google Shape;930;p5"/>
          <p:cNvSpPr/>
          <p:nvPr/>
        </p:nvSpPr>
        <p:spPr>
          <a:xfrm>
            <a:off x="6183977" y="1112695"/>
            <a:ext cx="2290445" cy="1215281"/>
          </a:xfrm>
          <a:custGeom>
            <a:avLst/>
            <a:gdLst/>
            <a:ahLst/>
            <a:cxnLst/>
            <a:rect l="l" t="t" r="r" b="b"/>
            <a:pathLst>
              <a:path w="2290445" h="976629" extrusionOk="0">
                <a:moveTo>
                  <a:pt x="2127455" y="0"/>
                </a:moveTo>
                <a:lnTo>
                  <a:pt x="162737" y="0"/>
                </a:lnTo>
                <a:lnTo>
                  <a:pt x="119475" y="5813"/>
                </a:lnTo>
                <a:lnTo>
                  <a:pt x="80600" y="22218"/>
                </a:lnTo>
                <a:lnTo>
                  <a:pt x="47664" y="47665"/>
                </a:lnTo>
                <a:lnTo>
                  <a:pt x="22218" y="80601"/>
                </a:lnTo>
                <a:lnTo>
                  <a:pt x="5813" y="119476"/>
                </a:lnTo>
                <a:lnTo>
                  <a:pt x="0" y="162739"/>
                </a:lnTo>
                <a:lnTo>
                  <a:pt x="0" y="813680"/>
                </a:lnTo>
                <a:lnTo>
                  <a:pt x="5813" y="856942"/>
                </a:lnTo>
                <a:lnTo>
                  <a:pt x="22218" y="895817"/>
                </a:lnTo>
                <a:lnTo>
                  <a:pt x="47664" y="928753"/>
                </a:lnTo>
                <a:lnTo>
                  <a:pt x="80600" y="954200"/>
                </a:lnTo>
                <a:lnTo>
                  <a:pt x="119475" y="970605"/>
                </a:lnTo>
                <a:lnTo>
                  <a:pt x="162737" y="976418"/>
                </a:lnTo>
                <a:lnTo>
                  <a:pt x="2127455" y="976418"/>
                </a:lnTo>
                <a:lnTo>
                  <a:pt x="2170717" y="970605"/>
                </a:lnTo>
                <a:lnTo>
                  <a:pt x="2209592" y="954200"/>
                </a:lnTo>
                <a:lnTo>
                  <a:pt x="2242528" y="928753"/>
                </a:lnTo>
                <a:lnTo>
                  <a:pt x="2267975" y="895817"/>
                </a:lnTo>
                <a:lnTo>
                  <a:pt x="2284380" y="856942"/>
                </a:lnTo>
                <a:lnTo>
                  <a:pt x="2290193" y="813680"/>
                </a:lnTo>
                <a:lnTo>
                  <a:pt x="2290193" y="162739"/>
                </a:lnTo>
                <a:lnTo>
                  <a:pt x="2284380" y="119476"/>
                </a:lnTo>
                <a:lnTo>
                  <a:pt x="2267975" y="80601"/>
                </a:lnTo>
                <a:lnTo>
                  <a:pt x="2242528" y="47665"/>
                </a:lnTo>
                <a:lnTo>
                  <a:pt x="2209592" y="22218"/>
                </a:lnTo>
                <a:lnTo>
                  <a:pt x="2170717" y="5813"/>
                </a:lnTo>
                <a:lnTo>
                  <a:pt x="2127455" y="0"/>
                </a:lnTo>
                <a:close/>
              </a:path>
            </a:pathLst>
          </a:custGeom>
          <a:solidFill>
            <a:srgbClr val="F2F2F2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1" name="Google Shape;931;p5"/>
          <p:cNvSpPr/>
          <p:nvPr/>
        </p:nvSpPr>
        <p:spPr>
          <a:xfrm>
            <a:off x="7528551" y="2490395"/>
            <a:ext cx="2290445" cy="1215281"/>
          </a:xfrm>
          <a:custGeom>
            <a:avLst/>
            <a:gdLst/>
            <a:ahLst/>
            <a:cxnLst/>
            <a:rect l="l" t="t" r="r" b="b"/>
            <a:pathLst>
              <a:path w="2290445" h="976629" extrusionOk="0">
                <a:moveTo>
                  <a:pt x="2127455" y="0"/>
                </a:moveTo>
                <a:lnTo>
                  <a:pt x="162737" y="0"/>
                </a:lnTo>
                <a:lnTo>
                  <a:pt x="119475" y="5813"/>
                </a:lnTo>
                <a:lnTo>
                  <a:pt x="80600" y="22218"/>
                </a:lnTo>
                <a:lnTo>
                  <a:pt x="47664" y="47665"/>
                </a:lnTo>
                <a:lnTo>
                  <a:pt x="22218" y="80601"/>
                </a:lnTo>
                <a:lnTo>
                  <a:pt x="5813" y="119476"/>
                </a:lnTo>
                <a:lnTo>
                  <a:pt x="0" y="162739"/>
                </a:lnTo>
                <a:lnTo>
                  <a:pt x="0" y="813680"/>
                </a:lnTo>
                <a:lnTo>
                  <a:pt x="5813" y="856942"/>
                </a:lnTo>
                <a:lnTo>
                  <a:pt x="22218" y="895817"/>
                </a:lnTo>
                <a:lnTo>
                  <a:pt x="47664" y="928753"/>
                </a:lnTo>
                <a:lnTo>
                  <a:pt x="80600" y="954200"/>
                </a:lnTo>
                <a:lnTo>
                  <a:pt x="119475" y="970605"/>
                </a:lnTo>
                <a:lnTo>
                  <a:pt x="162737" y="976418"/>
                </a:lnTo>
                <a:lnTo>
                  <a:pt x="2127455" y="976418"/>
                </a:lnTo>
                <a:lnTo>
                  <a:pt x="2170717" y="970605"/>
                </a:lnTo>
                <a:lnTo>
                  <a:pt x="2209592" y="954200"/>
                </a:lnTo>
                <a:lnTo>
                  <a:pt x="2242528" y="928753"/>
                </a:lnTo>
                <a:lnTo>
                  <a:pt x="2267975" y="895817"/>
                </a:lnTo>
                <a:lnTo>
                  <a:pt x="2284380" y="856942"/>
                </a:lnTo>
                <a:lnTo>
                  <a:pt x="2290193" y="813680"/>
                </a:lnTo>
                <a:lnTo>
                  <a:pt x="2290193" y="162739"/>
                </a:lnTo>
                <a:lnTo>
                  <a:pt x="2284380" y="119476"/>
                </a:lnTo>
                <a:lnTo>
                  <a:pt x="2267975" y="80601"/>
                </a:lnTo>
                <a:lnTo>
                  <a:pt x="2242528" y="47665"/>
                </a:lnTo>
                <a:lnTo>
                  <a:pt x="2209592" y="22218"/>
                </a:lnTo>
                <a:lnTo>
                  <a:pt x="2170717" y="5813"/>
                </a:lnTo>
                <a:lnTo>
                  <a:pt x="2127455" y="0"/>
                </a:lnTo>
                <a:close/>
              </a:path>
            </a:pathLst>
          </a:custGeom>
          <a:solidFill>
            <a:srgbClr val="F2F2F2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2" name="Google Shape;932;p5"/>
          <p:cNvSpPr/>
          <p:nvPr/>
        </p:nvSpPr>
        <p:spPr>
          <a:xfrm>
            <a:off x="7584568" y="3852732"/>
            <a:ext cx="2290445" cy="1215281"/>
          </a:xfrm>
          <a:custGeom>
            <a:avLst/>
            <a:gdLst/>
            <a:ahLst/>
            <a:cxnLst/>
            <a:rect l="l" t="t" r="r" b="b"/>
            <a:pathLst>
              <a:path w="2290445" h="976629" extrusionOk="0">
                <a:moveTo>
                  <a:pt x="2127455" y="0"/>
                </a:moveTo>
                <a:lnTo>
                  <a:pt x="162737" y="0"/>
                </a:lnTo>
                <a:lnTo>
                  <a:pt x="119475" y="5813"/>
                </a:lnTo>
                <a:lnTo>
                  <a:pt x="80600" y="22218"/>
                </a:lnTo>
                <a:lnTo>
                  <a:pt x="47664" y="47665"/>
                </a:lnTo>
                <a:lnTo>
                  <a:pt x="22218" y="80601"/>
                </a:lnTo>
                <a:lnTo>
                  <a:pt x="5813" y="119476"/>
                </a:lnTo>
                <a:lnTo>
                  <a:pt x="0" y="162739"/>
                </a:lnTo>
                <a:lnTo>
                  <a:pt x="0" y="813680"/>
                </a:lnTo>
                <a:lnTo>
                  <a:pt x="5813" y="856942"/>
                </a:lnTo>
                <a:lnTo>
                  <a:pt x="22218" y="895817"/>
                </a:lnTo>
                <a:lnTo>
                  <a:pt x="47664" y="928753"/>
                </a:lnTo>
                <a:lnTo>
                  <a:pt x="80600" y="954200"/>
                </a:lnTo>
                <a:lnTo>
                  <a:pt x="119475" y="970605"/>
                </a:lnTo>
                <a:lnTo>
                  <a:pt x="162737" y="976418"/>
                </a:lnTo>
                <a:lnTo>
                  <a:pt x="2127455" y="976418"/>
                </a:lnTo>
                <a:lnTo>
                  <a:pt x="2170717" y="970605"/>
                </a:lnTo>
                <a:lnTo>
                  <a:pt x="2209592" y="954200"/>
                </a:lnTo>
                <a:lnTo>
                  <a:pt x="2242528" y="928753"/>
                </a:lnTo>
                <a:lnTo>
                  <a:pt x="2267975" y="895817"/>
                </a:lnTo>
                <a:lnTo>
                  <a:pt x="2284380" y="856942"/>
                </a:lnTo>
                <a:lnTo>
                  <a:pt x="2290193" y="813680"/>
                </a:lnTo>
                <a:lnTo>
                  <a:pt x="2290193" y="162739"/>
                </a:lnTo>
                <a:lnTo>
                  <a:pt x="2284380" y="119476"/>
                </a:lnTo>
                <a:lnTo>
                  <a:pt x="2267975" y="80601"/>
                </a:lnTo>
                <a:lnTo>
                  <a:pt x="2242528" y="47665"/>
                </a:lnTo>
                <a:lnTo>
                  <a:pt x="2209592" y="22218"/>
                </a:lnTo>
                <a:lnTo>
                  <a:pt x="2170717" y="5813"/>
                </a:lnTo>
                <a:lnTo>
                  <a:pt x="2127455" y="0"/>
                </a:lnTo>
                <a:close/>
              </a:path>
            </a:pathLst>
          </a:custGeom>
          <a:solidFill>
            <a:srgbClr val="F2F2F2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3" name="Google Shape;933;p5"/>
          <p:cNvSpPr/>
          <p:nvPr/>
        </p:nvSpPr>
        <p:spPr>
          <a:xfrm>
            <a:off x="6244561" y="5237462"/>
            <a:ext cx="2290445" cy="1215281"/>
          </a:xfrm>
          <a:custGeom>
            <a:avLst/>
            <a:gdLst/>
            <a:ahLst/>
            <a:cxnLst/>
            <a:rect l="l" t="t" r="r" b="b"/>
            <a:pathLst>
              <a:path w="2290445" h="976629" extrusionOk="0">
                <a:moveTo>
                  <a:pt x="2127455" y="0"/>
                </a:moveTo>
                <a:lnTo>
                  <a:pt x="162737" y="0"/>
                </a:lnTo>
                <a:lnTo>
                  <a:pt x="119475" y="5813"/>
                </a:lnTo>
                <a:lnTo>
                  <a:pt x="80600" y="22218"/>
                </a:lnTo>
                <a:lnTo>
                  <a:pt x="47664" y="47665"/>
                </a:lnTo>
                <a:lnTo>
                  <a:pt x="22218" y="80601"/>
                </a:lnTo>
                <a:lnTo>
                  <a:pt x="5813" y="119476"/>
                </a:lnTo>
                <a:lnTo>
                  <a:pt x="0" y="162739"/>
                </a:lnTo>
                <a:lnTo>
                  <a:pt x="0" y="813680"/>
                </a:lnTo>
                <a:lnTo>
                  <a:pt x="5813" y="856942"/>
                </a:lnTo>
                <a:lnTo>
                  <a:pt x="22218" y="895817"/>
                </a:lnTo>
                <a:lnTo>
                  <a:pt x="47664" y="928753"/>
                </a:lnTo>
                <a:lnTo>
                  <a:pt x="80600" y="954200"/>
                </a:lnTo>
                <a:lnTo>
                  <a:pt x="119475" y="970605"/>
                </a:lnTo>
                <a:lnTo>
                  <a:pt x="162737" y="976418"/>
                </a:lnTo>
                <a:lnTo>
                  <a:pt x="2127455" y="976418"/>
                </a:lnTo>
                <a:lnTo>
                  <a:pt x="2170717" y="970605"/>
                </a:lnTo>
                <a:lnTo>
                  <a:pt x="2209592" y="954200"/>
                </a:lnTo>
                <a:lnTo>
                  <a:pt x="2242528" y="928753"/>
                </a:lnTo>
                <a:lnTo>
                  <a:pt x="2267975" y="895817"/>
                </a:lnTo>
                <a:lnTo>
                  <a:pt x="2284380" y="856942"/>
                </a:lnTo>
                <a:lnTo>
                  <a:pt x="2290193" y="813680"/>
                </a:lnTo>
                <a:lnTo>
                  <a:pt x="2290193" y="162739"/>
                </a:lnTo>
                <a:lnTo>
                  <a:pt x="2284380" y="119476"/>
                </a:lnTo>
                <a:lnTo>
                  <a:pt x="2267975" y="80601"/>
                </a:lnTo>
                <a:lnTo>
                  <a:pt x="2242528" y="47665"/>
                </a:lnTo>
                <a:lnTo>
                  <a:pt x="2209592" y="22218"/>
                </a:lnTo>
                <a:lnTo>
                  <a:pt x="2170717" y="5813"/>
                </a:lnTo>
                <a:lnTo>
                  <a:pt x="2127455" y="0"/>
                </a:lnTo>
                <a:close/>
              </a:path>
            </a:pathLst>
          </a:custGeom>
          <a:solidFill>
            <a:srgbClr val="F2F2F2"/>
          </a:solidFill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4" name="Google Shape;934;p5"/>
          <p:cNvSpPr txBox="1"/>
          <p:nvPr/>
        </p:nvSpPr>
        <p:spPr>
          <a:xfrm>
            <a:off x="6470044" y="1354148"/>
            <a:ext cx="1718310" cy="7827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71 empresas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12700" marR="5080" lvl="0" indent="0" algn="l" defTabSz="914400" rtl="0" eaLnBrk="1" fontAlgn="auto" latinLnBrk="0" hangingPunct="1">
              <a:lnSpc>
                <a:spcPct val="116153"/>
              </a:lnSpc>
              <a:spcBef>
                <a:spcPts val="7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 diversos setores do  varejo em todo o Brasil</a:t>
            </a: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5" name="Google Shape;935;p5"/>
          <p:cNvSpPr txBox="1"/>
          <p:nvPr/>
        </p:nvSpPr>
        <p:spPr>
          <a:xfrm>
            <a:off x="8073201" y="2758252"/>
            <a:ext cx="1313180" cy="607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89525" rIns="0" bIns="0" anchor="t" anchorCtr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+ 36,7 mil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49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unidades de lojas</a:t>
            </a:r>
            <a:endParaRPr kumimoji="0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6" name="Google Shape;936;p5"/>
          <p:cNvSpPr txBox="1"/>
          <p:nvPr/>
        </p:nvSpPr>
        <p:spPr>
          <a:xfrm>
            <a:off x="7899312" y="4138491"/>
            <a:ext cx="1730375" cy="607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89525" rIns="0" bIns="0" anchor="t" anchorCtr="0">
            <a:spAutoFit/>
          </a:bodyPr>
          <a:lstStyle/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+ 17,6 milhões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38100" marR="0" lvl="0" indent="0" algn="l" defTabSz="914400" rtl="0" eaLnBrk="1" fontAlgn="auto" latinLnBrk="0" hangingPunct="1">
              <a:lnSpc>
                <a:spcPct val="100000"/>
              </a:lnSpc>
              <a:spcBef>
                <a:spcPts val="49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 m</a:t>
            </a:r>
            <a:r>
              <a:rPr kumimoji="0" lang="pt-BR" sz="1350" b="0" i="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2 </a:t>
            </a:r>
            <a:r>
              <a:rPr kumimoji="0" lang="pt-BR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 área de lojas</a:t>
            </a: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7" name="Google Shape;937;p5"/>
          <p:cNvSpPr txBox="1"/>
          <p:nvPr/>
        </p:nvSpPr>
        <p:spPr>
          <a:xfrm>
            <a:off x="6637183" y="5446465"/>
            <a:ext cx="1598930" cy="6070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89525" rIns="0" bIns="0" anchor="t" anchorCtr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+ 820 centros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49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3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e operação logística</a:t>
            </a:r>
            <a:endParaRPr kumimoji="0" sz="13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38" name="Google Shape;938;p5"/>
          <p:cNvSpPr txBox="1"/>
          <p:nvPr/>
        </p:nvSpPr>
        <p:spPr>
          <a:xfrm>
            <a:off x="3834350" y="1538376"/>
            <a:ext cx="1760907" cy="2898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+ </a:t>
            </a:r>
            <a:r>
              <a:rPr kumimoji="0" lang="pt-BR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565</a:t>
            </a: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bi </a:t>
            </a:r>
            <a:r>
              <a:rPr kumimoji="0" lang="pt-BR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em venda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39" name="Google Shape;939;p5"/>
          <p:cNvSpPr txBox="1"/>
          <p:nvPr/>
        </p:nvSpPr>
        <p:spPr>
          <a:xfrm>
            <a:off x="2340684" y="2739646"/>
            <a:ext cx="1978578" cy="6264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89525" rIns="0" bIns="0" anchor="t" anchorCtr="0">
            <a:spAutoFit/>
          </a:bodyPr>
          <a:lstStyle/>
          <a:p>
            <a:pPr marL="42545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+ 870 mil</a:t>
            </a:r>
            <a:endParaRPr kumimoji="0" sz="16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425450" marR="0" lvl="0" indent="0" algn="ctr" defTabSz="914400" rtl="0" eaLnBrk="1" fontAlgn="auto" latinLnBrk="0" hangingPunct="1">
              <a:lnSpc>
                <a:spcPct val="100000"/>
              </a:lnSpc>
              <a:spcBef>
                <a:spcPts val="705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empregos diretos</a:t>
            </a: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0" name="Google Shape;940;p5"/>
          <p:cNvSpPr txBox="1"/>
          <p:nvPr/>
        </p:nvSpPr>
        <p:spPr>
          <a:xfrm>
            <a:off x="2799868" y="4140836"/>
            <a:ext cx="1310005" cy="600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85725" rIns="0" bIns="0" anchor="t" anchorCtr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+ 3,2 milhões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118745" marR="0" lvl="0" indent="0" algn="l" defTabSz="914400" rtl="0" eaLnBrk="1" fontAlgn="auto" latinLnBrk="0" hangingPunct="1">
              <a:lnSpc>
                <a:spcPct val="100000"/>
              </a:lnSpc>
              <a:spcBef>
                <a:spcPts val="47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3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empregos totais</a:t>
            </a: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1" name="Google Shape;941;p5"/>
          <p:cNvSpPr txBox="1"/>
          <p:nvPr/>
        </p:nvSpPr>
        <p:spPr>
          <a:xfrm>
            <a:off x="9875013" y="6448428"/>
            <a:ext cx="889635" cy="151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2700" rIns="0" bIns="0" anchor="t" anchorCtr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9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Dados: dez/2022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42" name="Google Shape;942;p5"/>
          <p:cNvGrpSpPr/>
          <p:nvPr/>
        </p:nvGrpSpPr>
        <p:grpSpPr>
          <a:xfrm>
            <a:off x="5024467" y="2612564"/>
            <a:ext cx="2319020" cy="2286000"/>
            <a:chOff x="6234494" y="2594597"/>
            <a:chExt cx="2319020" cy="2286000"/>
          </a:xfrm>
        </p:grpSpPr>
        <p:sp>
          <p:nvSpPr>
            <p:cNvPr id="943" name="Google Shape;943;p5"/>
            <p:cNvSpPr/>
            <p:nvPr/>
          </p:nvSpPr>
          <p:spPr>
            <a:xfrm>
              <a:off x="6234494" y="2594597"/>
              <a:ext cx="2319020" cy="2286000"/>
            </a:xfrm>
            <a:custGeom>
              <a:avLst/>
              <a:gdLst/>
              <a:ahLst/>
              <a:cxnLst/>
              <a:rect l="l" t="t" r="r" b="b"/>
              <a:pathLst>
                <a:path w="2319020" h="2286000" extrusionOk="0">
                  <a:moveTo>
                    <a:pt x="1159196" y="0"/>
                  </a:moveTo>
                  <a:lnTo>
                    <a:pt x="1110195" y="1002"/>
                  </a:lnTo>
                  <a:lnTo>
                    <a:pt x="1061713" y="3984"/>
                  </a:lnTo>
                  <a:lnTo>
                    <a:pt x="1013789" y="8905"/>
                  </a:lnTo>
                  <a:lnTo>
                    <a:pt x="966464" y="15726"/>
                  </a:lnTo>
                  <a:lnTo>
                    <a:pt x="919778" y="24406"/>
                  </a:lnTo>
                  <a:lnTo>
                    <a:pt x="873772" y="34907"/>
                  </a:lnTo>
                  <a:lnTo>
                    <a:pt x="828485" y="47189"/>
                  </a:lnTo>
                  <a:lnTo>
                    <a:pt x="783958" y="61211"/>
                  </a:lnTo>
                  <a:lnTo>
                    <a:pt x="740231" y="76935"/>
                  </a:lnTo>
                  <a:lnTo>
                    <a:pt x="697344" y="94321"/>
                  </a:lnTo>
                  <a:lnTo>
                    <a:pt x="655338" y="113328"/>
                  </a:lnTo>
                  <a:lnTo>
                    <a:pt x="614252" y="133918"/>
                  </a:lnTo>
                  <a:lnTo>
                    <a:pt x="574128" y="156050"/>
                  </a:lnTo>
                  <a:lnTo>
                    <a:pt x="535004" y="179685"/>
                  </a:lnTo>
                  <a:lnTo>
                    <a:pt x="496922" y="204784"/>
                  </a:lnTo>
                  <a:lnTo>
                    <a:pt x="459922" y="231306"/>
                  </a:lnTo>
                  <a:lnTo>
                    <a:pt x="424044" y="259212"/>
                  </a:lnTo>
                  <a:lnTo>
                    <a:pt x="389328" y="288462"/>
                  </a:lnTo>
                  <a:lnTo>
                    <a:pt x="355814" y="319017"/>
                  </a:lnTo>
                  <a:lnTo>
                    <a:pt x="323543" y="350837"/>
                  </a:lnTo>
                  <a:lnTo>
                    <a:pt x="292554" y="383881"/>
                  </a:lnTo>
                  <a:lnTo>
                    <a:pt x="262889" y="418112"/>
                  </a:lnTo>
                  <a:lnTo>
                    <a:pt x="234587" y="453488"/>
                  </a:lnTo>
                  <a:lnTo>
                    <a:pt x="207689" y="489971"/>
                  </a:lnTo>
                  <a:lnTo>
                    <a:pt x="182234" y="527520"/>
                  </a:lnTo>
                  <a:lnTo>
                    <a:pt x="158264" y="566096"/>
                  </a:lnTo>
                  <a:lnTo>
                    <a:pt x="135818" y="605660"/>
                  </a:lnTo>
                  <a:lnTo>
                    <a:pt x="114936" y="646171"/>
                  </a:lnTo>
                  <a:lnTo>
                    <a:pt x="95659" y="687589"/>
                  </a:lnTo>
                  <a:lnTo>
                    <a:pt x="78027" y="729876"/>
                  </a:lnTo>
                  <a:lnTo>
                    <a:pt x="62080" y="772992"/>
                  </a:lnTo>
                  <a:lnTo>
                    <a:pt x="47858" y="816896"/>
                  </a:lnTo>
                  <a:lnTo>
                    <a:pt x="35402" y="861549"/>
                  </a:lnTo>
                  <a:lnTo>
                    <a:pt x="24753" y="906912"/>
                  </a:lnTo>
                  <a:lnTo>
                    <a:pt x="15949" y="952945"/>
                  </a:lnTo>
                  <a:lnTo>
                    <a:pt x="9031" y="999608"/>
                  </a:lnTo>
                  <a:lnTo>
                    <a:pt x="4040" y="1046862"/>
                  </a:lnTo>
                  <a:lnTo>
                    <a:pt x="1016" y="1094666"/>
                  </a:lnTo>
                  <a:lnTo>
                    <a:pt x="0" y="1142982"/>
                  </a:lnTo>
                  <a:lnTo>
                    <a:pt x="1016" y="1191297"/>
                  </a:lnTo>
                  <a:lnTo>
                    <a:pt x="4040" y="1239101"/>
                  </a:lnTo>
                  <a:lnTo>
                    <a:pt x="9031" y="1286355"/>
                  </a:lnTo>
                  <a:lnTo>
                    <a:pt x="15949" y="1333018"/>
                  </a:lnTo>
                  <a:lnTo>
                    <a:pt x="24753" y="1379051"/>
                  </a:lnTo>
                  <a:lnTo>
                    <a:pt x="35402" y="1424413"/>
                  </a:lnTo>
                  <a:lnTo>
                    <a:pt x="47858" y="1469067"/>
                  </a:lnTo>
                  <a:lnTo>
                    <a:pt x="62080" y="1512971"/>
                  </a:lnTo>
                  <a:lnTo>
                    <a:pt x="78027" y="1556087"/>
                  </a:lnTo>
                  <a:lnTo>
                    <a:pt x="95659" y="1598373"/>
                  </a:lnTo>
                  <a:lnTo>
                    <a:pt x="114936" y="1639792"/>
                  </a:lnTo>
                  <a:lnTo>
                    <a:pt x="135818" y="1680303"/>
                  </a:lnTo>
                  <a:lnTo>
                    <a:pt x="158264" y="1719866"/>
                  </a:lnTo>
                  <a:lnTo>
                    <a:pt x="182234" y="1758442"/>
                  </a:lnTo>
                  <a:lnTo>
                    <a:pt x="207689" y="1795991"/>
                  </a:lnTo>
                  <a:lnTo>
                    <a:pt x="234587" y="1832474"/>
                  </a:lnTo>
                  <a:lnTo>
                    <a:pt x="262889" y="1867850"/>
                  </a:lnTo>
                  <a:lnTo>
                    <a:pt x="292554" y="1902081"/>
                  </a:lnTo>
                  <a:lnTo>
                    <a:pt x="323543" y="1935126"/>
                  </a:lnTo>
                  <a:lnTo>
                    <a:pt x="355814" y="1966946"/>
                  </a:lnTo>
                  <a:lnTo>
                    <a:pt x="389328" y="1997500"/>
                  </a:lnTo>
                  <a:lnTo>
                    <a:pt x="424044" y="2026751"/>
                  </a:lnTo>
                  <a:lnTo>
                    <a:pt x="459922" y="2054657"/>
                  </a:lnTo>
                  <a:lnTo>
                    <a:pt x="496922" y="2081179"/>
                  </a:lnTo>
                  <a:lnTo>
                    <a:pt x="535004" y="2106277"/>
                  </a:lnTo>
                  <a:lnTo>
                    <a:pt x="574128" y="2129912"/>
                  </a:lnTo>
                  <a:lnTo>
                    <a:pt x="614252" y="2152045"/>
                  </a:lnTo>
                  <a:lnTo>
                    <a:pt x="655338" y="2172634"/>
                  </a:lnTo>
                  <a:lnTo>
                    <a:pt x="697344" y="2191642"/>
                  </a:lnTo>
                  <a:lnTo>
                    <a:pt x="740231" y="2209027"/>
                  </a:lnTo>
                  <a:lnTo>
                    <a:pt x="783958" y="2224751"/>
                  </a:lnTo>
                  <a:lnTo>
                    <a:pt x="828485" y="2238773"/>
                  </a:lnTo>
                  <a:lnTo>
                    <a:pt x="873772" y="2251055"/>
                  </a:lnTo>
                  <a:lnTo>
                    <a:pt x="919778" y="2261556"/>
                  </a:lnTo>
                  <a:lnTo>
                    <a:pt x="966464" y="2270237"/>
                  </a:lnTo>
                  <a:lnTo>
                    <a:pt x="1013789" y="2277057"/>
                  </a:lnTo>
                  <a:lnTo>
                    <a:pt x="1061713" y="2281978"/>
                  </a:lnTo>
                  <a:lnTo>
                    <a:pt x="1110195" y="2284960"/>
                  </a:lnTo>
                  <a:lnTo>
                    <a:pt x="1159196" y="2285963"/>
                  </a:lnTo>
                  <a:lnTo>
                    <a:pt x="1208197" y="2284960"/>
                  </a:lnTo>
                  <a:lnTo>
                    <a:pt x="1256679" y="2281978"/>
                  </a:lnTo>
                  <a:lnTo>
                    <a:pt x="1304603" y="2277057"/>
                  </a:lnTo>
                  <a:lnTo>
                    <a:pt x="1351928" y="2270237"/>
                  </a:lnTo>
                  <a:lnTo>
                    <a:pt x="1398614" y="2261556"/>
                  </a:lnTo>
                  <a:lnTo>
                    <a:pt x="1444620" y="2251055"/>
                  </a:lnTo>
                  <a:lnTo>
                    <a:pt x="1489907" y="2238773"/>
                  </a:lnTo>
                  <a:lnTo>
                    <a:pt x="1534434" y="2224751"/>
                  </a:lnTo>
                  <a:lnTo>
                    <a:pt x="1578161" y="2209027"/>
                  </a:lnTo>
                  <a:lnTo>
                    <a:pt x="1621048" y="2191642"/>
                  </a:lnTo>
                  <a:lnTo>
                    <a:pt x="1663055" y="2172634"/>
                  </a:lnTo>
                  <a:lnTo>
                    <a:pt x="1704140" y="2152045"/>
                  </a:lnTo>
                  <a:lnTo>
                    <a:pt x="1744265" y="2129912"/>
                  </a:lnTo>
                  <a:lnTo>
                    <a:pt x="1783388" y="2106277"/>
                  </a:lnTo>
                  <a:lnTo>
                    <a:pt x="1821470" y="2081179"/>
                  </a:lnTo>
                  <a:lnTo>
                    <a:pt x="1858470" y="2054657"/>
                  </a:lnTo>
                  <a:lnTo>
                    <a:pt x="1894348" y="2026751"/>
                  </a:lnTo>
                  <a:lnTo>
                    <a:pt x="1929064" y="1997500"/>
                  </a:lnTo>
                  <a:lnTo>
                    <a:pt x="1962578" y="1966946"/>
                  </a:lnTo>
                  <a:lnTo>
                    <a:pt x="1994849" y="1935126"/>
                  </a:lnTo>
                  <a:lnTo>
                    <a:pt x="2025838" y="1902081"/>
                  </a:lnTo>
                  <a:lnTo>
                    <a:pt x="2055503" y="1867850"/>
                  </a:lnTo>
                  <a:lnTo>
                    <a:pt x="2083805" y="1832474"/>
                  </a:lnTo>
                  <a:lnTo>
                    <a:pt x="2110703" y="1795991"/>
                  </a:lnTo>
                  <a:lnTo>
                    <a:pt x="2136157" y="1758442"/>
                  </a:lnTo>
                  <a:lnTo>
                    <a:pt x="2160128" y="1719866"/>
                  </a:lnTo>
                  <a:lnTo>
                    <a:pt x="2182574" y="1680303"/>
                  </a:lnTo>
                  <a:lnTo>
                    <a:pt x="2203456" y="1639792"/>
                  </a:lnTo>
                  <a:lnTo>
                    <a:pt x="2222733" y="1598373"/>
                  </a:lnTo>
                  <a:lnTo>
                    <a:pt x="2240365" y="1556087"/>
                  </a:lnTo>
                  <a:lnTo>
                    <a:pt x="2256312" y="1512971"/>
                  </a:lnTo>
                  <a:lnTo>
                    <a:pt x="2270533" y="1469067"/>
                  </a:lnTo>
                  <a:lnTo>
                    <a:pt x="2282989" y="1424413"/>
                  </a:lnTo>
                  <a:lnTo>
                    <a:pt x="2293639" y="1379051"/>
                  </a:lnTo>
                  <a:lnTo>
                    <a:pt x="2302443" y="1333018"/>
                  </a:lnTo>
                  <a:lnTo>
                    <a:pt x="2309360" y="1286355"/>
                  </a:lnTo>
                  <a:lnTo>
                    <a:pt x="2314351" y="1239101"/>
                  </a:lnTo>
                  <a:lnTo>
                    <a:pt x="2317375" y="1191297"/>
                  </a:lnTo>
                  <a:lnTo>
                    <a:pt x="2318392" y="1142982"/>
                  </a:lnTo>
                  <a:lnTo>
                    <a:pt x="2317375" y="1094666"/>
                  </a:lnTo>
                  <a:lnTo>
                    <a:pt x="2314351" y="1046862"/>
                  </a:lnTo>
                  <a:lnTo>
                    <a:pt x="2309360" y="999608"/>
                  </a:lnTo>
                  <a:lnTo>
                    <a:pt x="2302443" y="952945"/>
                  </a:lnTo>
                  <a:lnTo>
                    <a:pt x="2293639" y="906912"/>
                  </a:lnTo>
                  <a:lnTo>
                    <a:pt x="2282989" y="861549"/>
                  </a:lnTo>
                  <a:lnTo>
                    <a:pt x="2270533" y="816896"/>
                  </a:lnTo>
                  <a:lnTo>
                    <a:pt x="2256312" y="772992"/>
                  </a:lnTo>
                  <a:lnTo>
                    <a:pt x="2240365" y="729876"/>
                  </a:lnTo>
                  <a:lnTo>
                    <a:pt x="2222733" y="687589"/>
                  </a:lnTo>
                  <a:lnTo>
                    <a:pt x="2203456" y="646171"/>
                  </a:lnTo>
                  <a:lnTo>
                    <a:pt x="2182574" y="605660"/>
                  </a:lnTo>
                  <a:lnTo>
                    <a:pt x="2160128" y="566096"/>
                  </a:lnTo>
                  <a:lnTo>
                    <a:pt x="2136157" y="527520"/>
                  </a:lnTo>
                  <a:lnTo>
                    <a:pt x="2110703" y="489971"/>
                  </a:lnTo>
                  <a:lnTo>
                    <a:pt x="2083805" y="453488"/>
                  </a:lnTo>
                  <a:lnTo>
                    <a:pt x="2055503" y="418112"/>
                  </a:lnTo>
                  <a:lnTo>
                    <a:pt x="2025838" y="383881"/>
                  </a:lnTo>
                  <a:lnTo>
                    <a:pt x="1994849" y="350837"/>
                  </a:lnTo>
                  <a:lnTo>
                    <a:pt x="1962578" y="319017"/>
                  </a:lnTo>
                  <a:lnTo>
                    <a:pt x="1929064" y="288462"/>
                  </a:lnTo>
                  <a:lnTo>
                    <a:pt x="1894348" y="259212"/>
                  </a:lnTo>
                  <a:lnTo>
                    <a:pt x="1858470" y="231306"/>
                  </a:lnTo>
                  <a:lnTo>
                    <a:pt x="1821470" y="204784"/>
                  </a:lnTo>
                  <a:lnTo>
                    <a:pt x="1783388" y="179685"/>
                  </a:lnTo>
                  <a:lnTo>
                    <a:pt x="1744265" y="156050"/>
                  </a:lnTo>
                  <a:lnTo>
                    <a:pt x="1704140" y="133918"/>
                  </a:lnTo>
                  <a:lnTo>
                    <a:pt x="1663055" y="113328"/>
                  </a:lnTo>
                  <a:lnTo>
                    <a:pt x="1621048" y="94321"/>
                  </a:lnTo>
                  <a:lnTo>
                    <a:pt x="1578161" y="76935"/>
                  </a:lnTo>
                  <a:lnTo>
                    <a:pt x="1534434" y="61211"/>
                  </a:lnTo>
                  <a:lnTo>
                    <a:pt x="1489907" y="47189"/>
                  </a:lnTo>
                  <a:lnTo>
                    <a:pt x="1444620" y="34907"/>
                  </a:lnTo>
                  <a:lnTo>
                    <a:pt x="1398614" y="24406"/>
                  </a:lnTo>
                  <a:lnTo>
                    <a:pt x="1351928" y="15726"/>
                  </a:lnTo>
                  <a:lnTo>
                    <a:pt x="1304603" y="8905"/>
                  </a:lnTo>
                  <a:lnTo>
                    <a:pt x="1256679" y="3984"/>
                  </a:lnTo>
                  <a:lnTo>
                    <a:pt x="1208197" y="1002"/>
                  </a:lnTo>
                  <a:lnTo>
                    <a:pt x="1159196" y="0"/>
                  </a:lnTo>
                  <a:close/>
                </a:path>
              </a:pathLst>
            </a:custGeom>
            <a:solidFill>
              <a:srgbClr val="F2F2F2"/>
            </a:solidFill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44" name="Google Shape;944;p5"/>
            <p:cNvSpPr/>
            <p:nvPr/>
          </p:nvSpPr>
          <p:spPr>
            <a:xfrm>
              <a:off x="6234494" y="2594597"/>
              <a:ext cx="2319020" cy="2286000"/>
            </a:xfrm>
            <a:custGeom>
              <a:avLst/>
              <a:gdLst/>
              <a:ahLst/>
              <a:cxnLst/>
              <a:rect l="l" t="t" r="r" b="b"/>
              <a:pathLst>
                <a:path w="2319020" h="2286000" extrusionOk="0">
                  <a:moveTo>
                    <a:pt x="0" y="1142982"/>
                  </a:moveTo>
                  <a:lnTo>
                    <a:pt x="1016" y="1094666"/>
                  </a:lnTo>
                  <a:lnTo>
                    <a:pt x="4040" y="1046862"/>
                  </a:lnTo>
                  <a:lnTo>
                    <a:pt x="9031" y="999608"/>
                  </a:lnTo>
                  <a:lnTo>
                    <a:pt x="15949" y="952945"/>
                  </a:lnTo>
                  <a:lnTo>
                    <a:pt x="24753" y="906912"/>
                  </a:lnTo>
                  <a:lnTo>
                    <a:pt x="35402" y="861550"/>
                  </a:lnTo>
                  <a:lnTo>
                    <a:pt x="47858" y="816896"/>
                  </a:lnTo>
                  <a:lnTo>
                    <a:pt x="62080" y="772992"/>
                  </a:lnTo>
                  <a:lnTo>
                    <a:pt x="78027" y="729876"/>
                  </a:lnTo>
                  <a:lnTo>
                    <a:pt x="95659" y="687589"/>
                  </a:lnTo>
                  <a:lnTo>
                    <a:pt x="114936" y="646171"/>
                  </a:lnTo>
                  <a:lnTo>
                    <a:pt x="135818" y="605660"/>
                  </a:lnTo>
                  <a:lnTo>
                    <a:pt x="158264" y="566097"/>
                  </a:lnTo>
                  <a:lnTo>
                    <a:pt x="182234" y="527521"/>
                  </a:lnTo>
                  <a:lnTo>
                    <a:pt x="207689" y="489971"/>
                  </a:lnTo>
                  <a:lnTo>
                    <a:pt x="234587" y="453489"/>
                  </a:lnTo>
                  <a:lnTo>
                    <a:pt x="262889" y="418112"/>
                  </a:lnTo>
                  <a:lnTo>
                    <a:pt x="292554" y="383882"/>
                  </a:lnTo>
                  <a:lnTo>
                    <a:pt x="323543" y="350837"/>
                  </a:lnTo>
                  <a:lnTo>
                    <a:pt x="355814" y="319017"/>
                  </a:lnTo>
                  <a:lnTo>
                    <a:pt x="389328" y="288462"/>
                  </a:lnTo>
                  <a:lnTo>
                    <a:pt x="424044" y="259212"/>
                  </a:lnTo>
                  <a:lnTo>
                    <a:pt x="459922" y="231306"/>
                  </a:lnTo>
                  <a:lnTo>
                    <a:pt x="496922" y="204784"/>
                  </a:lnTo>
                  <a:lnTo>
                    <a:pt x="535004" y="179685"/>
                  </a:lnTo>
                  <a:lnTo>
                    <a:pt x="574127" y="156050"/>
                  </a:lnTo>
                  <a:lnTo>
                    <a:pt x="614252" y="133918"/>
                  </a:lnTo>
                  <a:lnTo>
                    <a:pt x="655338" y="113328"/>
                  </a:lnTo>
                  <a:lnTo>
                    <a:pt x="697344" y="94321"/>
                  </a:lnTo>
                  <a:lnTo>
                    <a:pt x="740231" y="76935"/>
                  </a:lnTo>
                  <a:lnTo>
                    <a:pt x="783958" y="61211"/>
                  </a:lnTo>
                  <a:lnTo>
                    <a:pt x="828485" y="47189"/>
                  </a:lnTo>
                  <a:lnTo>
                    <a:pt x="873772" y="34907"/>
                  </a:lnTo>
                  <a:lnTo>
                    <a:pt x="919778" y="24406"/>
                  </a:lnTo>
                  <a:lnTo>
                    <a:pt x="966464" y="15726"/>
                  </a:lnTo>
                  <a:lnTo>
                    <a:pt x="1013789" y="8905"/>
                  </a:lnTo>
                  <a:lnTo>
                    <a:pt x="1061713" y="3984"/>
                  </a:lnTo>
                  <a:lnTo>
                    <a:pt x="1110196" y="1002"/>
                  </a:lnTo>
                  <a:lnTo>
                    <a:pt x="1159197" y="0"/>
                  </a:lnTo>
                  <a:lnTo>
                    <a:pt x="1208197" y="1002"/>
                  </a:lnTo>
                  <a:lnTo>
                    <a:pt x="1256680" y="3984"/>
                  </a:lnTo>
                  <a:lnTo>
                    <a:pt x="1304604" y="8905"/>
                  </a:lnTo>
                  <a:lnTo>
                    <a:pt x="1351928" y="15726"/>
                  </a:lnTo>
                  <a:lnTo>
                    <a:pt x="1398614" y="24406"/>
                  </a:lnTo>
                  <a:lnTo>
                    <a:pt x="1444621" y="34907"/>
                  </a:lnTo>
                  <a:lnTo>
                    <a:pt x="1489908" y="47189"/>
                  </a:lnTo>
                  <a:lnTo>
                    <a:pt x="1534435" y="61211"/>
                  </a:lnTo>
                  <a:lnTo>
                    <a:pt x="1578162" y="76935"/>
                  </a:lnTo>
                  <a:lnTo>
                    <a:pt x="1621049" y="94321"/>
                  </a:lnTo>
                  <a:lnTo>
                    <a:pt x="1663055" y="113328"/>
                  </a:lnTo>
                  <a:lnTo>
                    <a:pt x="1704140" y="133918"/>
                  </a:lnTo>
                  <a:lnTo>
                    <a:pt x="1744265" y="156050"/>
                  </a:lnTo>
                  <a:lnTo>
                    <a:pt x="1783388" y="179685"/>
                  </a:lnTo>
                  <a:lnTo>
                    <a:pt x="1821470" y="204784"/>
                  </a:lnTo>
                  <a:lnTo>
                    <a:pt x="1858470" y="231306"/>
                  </a:lnTo>
                  <a:lnTo>
                    <a:pt x="1894348" y="259212"/>
                  </a:lnTo>
                  <a:lnTo>
                    <a:pt x="1929065" y="288462"/>
                  </a:lnTo>
                  <a:lnTo>
                    <a:pt x="1962578" y="319017"/>
                  </a:lnTo>
                  <a:lnTo>
                    <a:pt x="1994850" y="350837"/>
                  </a:lnTo>
                  <a:lnTo>
                    <a:pt x="2025838" y="383882"/>
                  </a:lnTo>
                  <a:lnTo>
                    <a:pt x="2055503" y="418112"/>
                  </a:lnTo>
                  <a:lnTo>
                    <a:pt x="2083805" y="453489"/>
                  </a:lnTo>
                  <a:lnTo>
                    <a:pt x="2110703" y="489971"/>
                  </a:lnTo>
                  <a:lnTo>
                    <a:pt x="2136158" y="527521"/>
                  </a:lnTo>
                  <a:lnTo>
                    <a:pt x="2160128" y="566097"/>
                  </a:lnTo>
                  <a:lnTo>
                    <a:pt x="2182574" y="605660"/>
                  </a:lnTo>
                  <a:lnTo>
                    <a:pt x="2203456" y="646171"/>
                  </a:lnTo>
                  <a:lnTo>
                    <a:pt x="2222733" y="687589"/>
                  </a:lnTo>
                  <a:lnTo>
                    <a:pt x="2240365" y="729876"/>
                  </a:lnTo>
                  <a:lnTo>
                    <a:pt x="2256312" y="772992"/>
                  </a:lnTo>
                  <a:lnTo>
                    <a:pt x="2270534" y="816896"/>
                  </a:lnTo>
                  <a:lnTo>
                    <a:pt x="2282990" y="861550"/>
                  </a:lnTo>
                  <a:lnTo>
                    <a:pt x="2293640" y="906912"/>
                  </a:lnTo>
                  <a:lnTo>
                    <a:pt x="2302443" y="952945"/>
                  </a:lnTo>
                  <a:lnTo>
                    <a:pt x="2309361" y="999608"/>
                  </a:lnTo>
                  <a:lnTo>
                    <a:pt x="2314352" y="1046862"/>
                  </a:lnTo>
                  <a:lnTo>
                    <a:pt x="2317376" y="1094666"/>
                  </a:lnTo>
                  <a:lnTo>
                    <a:pt x="2318393" y="1142982"/>
                  </a:lnTo>
                  <a:lnTo>
                    <a:pt x="2317376" y="1191297"/>
                  </a:lnTo>
                  <a:lnTo>
                    <a:pt x="2314352" y="1239101"/>
                  </a:lnTo>
                  <a:lnTo>
                    <a:pt x="2309361" y="1286355"/>
                  </a:lnTo>
                  <a:lnTo>
                    <a:pt x="2302443" y="1333018"/>
                  </a:lnTo>
                  <a:lnTo>
                    <a:pt x="2293640" y="1379050"/>
                  </a:lnTo>
                  <a:lnTo>
                    <a:pt x="2282990" y="1424413"/>
                  </a:lnTo>
                  <a:lnTo>
                    <a:pt x="2270534" y="1469067"/>
                  </a:lnTo>
                  <a:lnTo>
                    <a:pt x="2256312" y="1512971"/>
                  </a:lnTo>
                  <a:lnTo>
                    <a:pt x="2240365" y="1556086"/>
                  </a:lnTo>
                  <a:lnTo>
                    <a:pt x="2222733" y="1598373"/>
                  </a:lnTo>
                  <a:lnTo>
                    <a:pt x="2203456" y="1639792"/>
                  </a:lnTo>
                  <a:lnTo>
                    <a:pt x="2182574" y="1680303"/>
                  </a:lnTo>
                  <a:lnTo>
                    <a:pt x="2160128" y="1719866"/>
                  </a:lnTo>
                  <a:lnTo>
                    <a:pt x="2136158" y="1758442"/>
                  </a:lnTo>
                  <a:lnTo>
                    <a:pt x="2110703" y="1795991"/>
                  </a:lnTo>
                  <a:lnTo>
                    <a:pt x="2083805" y="1832474"/>
                  </a:lnTo>
                  <a:lnTo>
                    <a:pt x="2055503" y="1867851"/>
                  </a:lnTo>
                  <a:lnTo>
                    <a:pt x="2025838" y="1902081"/>
                  </a:lnTo>
                  <a:lnTo>
                    <a:pt x="1994850" y="1935126"/>
                  </a:lnTo>
                  <a:lnTo>
                    <a:pt x="1962578" y="1966946"/>
                  </a:lnTo>
                  <a:lnTo>
                    <a:pt x="1929065" y="1997501"/>
                  </a:lnTo>
                  <a:lnTo>
                    <a:pt x="1894348" y="2026751"/>
                  </a:lnTo>
                  <a:lnTo>
                    <a:pt x="1858470" y="2054657"/>
                  </a:lnTo>
                  <a:lnTo>
                    <a:pt x="1821470" y="2081179"/>
                  </a:lnTo>
                  <a:lnTo>
                    <a:pt x="1783388" y="2106278"/>
                  </a:lnTo>
                  <a:lnTo>
                    <a:pt x="1744265" y="2129913"/>
                  </a:lnTo>
                  <a:lnTo>
                    <a:pt x="1704140" y="2152045"/>
                  </a:lnTo>
                  <a:lnTo>
                    <a:pt x="1663055" y="2172635"/>
                  </a:lnTo>
                  <a:lnTo>
                    <a:pt x="1621049" y="2191642"/>
                  </a:lnTo>
                  <a:lnTo>
                    <a:pt x="1578162" y="2209028"/>
                  </a:lnTo>
                  <a:lnTo>
                    <a:pt x="1534435" y="2224752"/>
                  </a:lnTo>
                  <a:lnTo>
                    <a:pt x="1489908" y="2238774"/>
                  </a:lnTo>
                  <a:lnTo>
                    <a:pt x="1444621" y="2251056"/>
                  </a:lnTo>
                  <a:lnTo>
                    <a:pt x="1398614" y="2261557"/>
                  </a:lnTo>
                  <a:lnTo>
                    <a:pt x="1351928" y="2270237"/>
                  </a:lnTo>
                  <a:lnTo>
                    <a:pt x="1304604" y="2277058"/>
                  </a:lnTo>
                  <a:lnTo>
                    <a:pt x="1256680" y="2281979"/>
                  </a:lnTo>
                  <a:lnTo>
                    <a:pt x="1208197" y="2284961"/>
                  </a:lnTo>
                  <a:lnTo>
                    <a:pt x="1159197" y="2285964"/>
                  </a:lnTo>
                  <a:lnTo>
                    <a:pt x="1110196" y="2284961"/>
                  </a:lnTo>
                  <a:lnTo>
                    <a:pt x="1061713" y="2281979"/>
                  </a:lnTo>
                  <a:lnTo>
                    <a:pt x="1013789" y="2277058"/>
                  </a:lnTo>
                  <a:lnTo>
                    <a:pt x="966464" y="2270237"/>
                  </a:lnTo>
                  <a:lnTo>
                    <a:pt x="919778" y="2261557"/>
                  </a:lnTo>
                  <a:lnTo>
                    <a:pt x="873772" y="2251056"/>
                  </a:lnTo>
                  <a:lnTo>
                    <a:pt x="828485" y="2238774"/>
                  </a:lnTo>
                  <a:lnTo>
                    <a:pt x="783958" y="2224752"/>
                  </a:lnTo>
                  <a:lnTo>
                    <a:pt x="740231" y="2209028"/>
                  </a:lnTo>
                  <a:lnTo>
                    <a:pt x="697344" y="2191642"/>
                  </a:lnTo>
                  <a:lnTo>
                    <a:pt x="655338" y="2172635"/>
                  </a:lnTo>
                  <a:lnTo>
                    <a:pt x="614252" y="2152045"/>
                  </a:lnTo>
                  <a:lnTo>
                    <a:pt x="574127" y="2129913"/>
                  </a:lnTo>
                  <a:lnTo>
                    <a:pt x="535004" y="2106278"/>
                  </a:lnTo>
                  <a:lnTo>
                    <a:pt x="496922" y="2081179"/>
                  </a:lnTo>
                  <a:lnTo>
                    <a:pt x="459922" y="2054657"/>
                  </a:lnTo>
                  <a:lnTo>
                    <a:pt x="424044" y="2026751"/>
                  </a:lnTo>
                  <a:lnTo>
                    <a:pt x="389328" y="1997501"/>
                  </a:lnTo>
                  <a:lnTo>
                    <a:pt x="355814" y="1966946"/>
                  </a:lnTo>
                  <a:lnTo>
                    <a:pt x="323543" y="1935126"/>
                  </a:lnTo>
                  <a:lnTo>
                    <a:pt x="292554" y="1902081"/>
                  </a:lnTo>
                  <a:lnTo>
                    <a:pt x="262889" y="1867851"/>
                  </a:lnTo>
                  <a:lnTo>
                    <a:pt x="234587" y="1832474"/>
                  </a:lnTo>
                  <a:lnTo>
                    <a:pt x="207689" y="1795991"/>
                  </a:lnTo>
                  <a:lnTo>
                    <a:pt x="182234" y="1758442"/>
                  </a:lnTo>
                  <a:lnTo>
                    <a:pt x="158264" y="1719866"/>
                  </a:lnTo>
                  <a:lnTo>
                    <a:pt x="135818" y="1680303"/>
                  </a:lnTo>
                  <a:lnTo>
                    <a:pt x="114936" y="1639792"/>
                  </a:lnTo>
                  <a:lnTo>
                    <a:pt x="95659" y="1598373"/>
                  </a:lnTo>
                  <a:lnTo>
                    <a:pt x="78027" y="1556086"/>
                  </a:lnTo>
                  <a:lnTo>
                    <a:pt x="62080" y="1512971"/>
                  </a:lnTo>
                  <a:lnTo>
                    <a:pt x="47858" y="1469067"/>
                  </a:lnTo>
                  <a:lnTo>
                    <a:pt x="35402" y="1424413"/>
                  </a:lnTo>
                  <a:lnTo>
                    <a:pt x="24753" y="1379050"/>
                  </a:lnTo>
                  <a:lnTo>
                    <a:pt x="15949" y="1333018"/>
                  </a:lnTo>
                  <a:lnTo>
                    <a:pt x="9031" y="1286355"/>
                  </a:lnTo>
                  <a:lnTo>
                    <a:pt x="4040" y="1239101"/>
                  </a:lnTo>
                  <a:lnTo>
                    <a:pt x="1016" y="1191297"/>
                  </a:lnTo>
                  <a:lnTo>
                    <a:pt x="0" y="1142982"/>
                  </a:lnTo>
                  <a:close/>
                </a:path>
              </a:pathLst>
            </a:custGeom>
            <a:noFill/>
            <a:ln w="12700" cap="flat" cmpd="sng">
              <a:solidFill>
                <a:srgbClr val="7F7F7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945" name="Google Shape;945;p5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6682342" y="3031743"/>
              <a:ext cx="1434837" cy="1434837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46" name="Google Shape;946;p5"/>
          <p:cNvSpPr txBox="1"/>
          <p:nvPr/>
        </p:nvSpPr>
        <p:spPr>
          <a:xfrm>
            <a:off x="3595730" y="5259510"/>
            <a:ext cx="2290445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2700" marR="5080" lvl="0" indent="48768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Setores varejistas: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7" name="Google Shape;947;p5"/>
          <p:cNvSpPr txBox="1"/>
          <p:nvPr/>
        </p:nvSpPr>
        <p:spPr>
          <a:xfrm>
            <a:off x="3632300" y="5277989"/>
            <a:ext cx="2198573" cy="11079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12700" marR="5080" lvl="0" indent="48768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pt-BR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                                </a:t>
            </a:r>
            <a:r>
              <a:rPr kumimoji="0" lang="pt-BR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alimentação, perfumaria,                 material de construção,           farmácia, livraria, móveis e             eletro, supermercados, vestuário e peças automotivas</a:t>
            </a:r>
            <a:endParaRPr kumimoji="0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Google Shape;905;p4">
            <a:extLst>
              <a:ext uri="{FF2B5EF4-FFF2-40B4-BE49-F238E27FC236}">
                <a16:creationId xmlns:a16="http://schemas.microsoft.com/office/drawing/2014/main" id="{9BF61E35-F313-9DBA-D9E8-37F664126A95}"/>
              </a:ext>
            </a:extLst>
          </p:cNvPr>
          <p:cNvSpPr/>
          <p:nvPr/>
        </p:nvSpPr>
        <p:spPr>
          <a:xfrm>
            <a:off x="11588495" y="6467431"/>
            <a:ext cx="325501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5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Google Shape;908;p4">
            <a:extLst>
              <a:ext uri="{FF2B5EF4-FFF2-40B4-BE49-F238E27FC236}">
                <a16:creationId xmlns:a16="http://schemas.microsoft.com/office/drawing/2014/main" id="{43075EF9-DA05-2E87-4F21-6260E2F8CAA1}"/>
              </a:ext>
            </a:extLst>
          </p:cNvPr>
          <p:cNvSpPr txBox="1"/>
          <p:nvPr/>
        </p:nvSpPr>
        <p:spPr>
          <a:xfrm>
            <a:off x="427396" y="372045"/>
            <a:ext cx="6755281" cy="674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66666"/>
              </a:lnSpc>
              <a:spcBef>
                <a:spcPts val="0"/>
              </a:spcBef>
              <a:spcAft>
                <a:spcPts val="0"/>
              </a:spcAft>
              <a:buClr>
                <a:srgbClr val="051C2C"/>
              </a:buClr>
              <a:buSzPts val="3600"/>
              <a:buFont typeface="Arial"/>
              <a:buNone/>
              <a:tabLst/>
              <a:defRPr/>
            </a:pPr>
            <a:r>
              <a:rPr kumimoji="0" lang="pt-BR" sz="3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/>
                <a:ea typeface="Georgia"/>
                <a:cs typeface="Georgia"/>
                <a:sym typeface="Georgia"/>
              </a:rPr>
              <a:t>Nossa representatividade</a:t>
            </a:r>
            <a:endParaRPr kumimoji="0" sz="3600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9" name="Google Shape;1199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1" y="10275"/>
            <a:ext cx="1220815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00" name="Google Shape;1200;p14"/>
          <p:cNvSpPr txBox="1">
            <a:spLocks noGrp="1"/>
          </p:cNvSpPr>
          <p:nvPr>
            <p:ph type="title"/>
          </p:nvPr>
        </p:nvSpPr>
        <p:spPr>
          <a:xfrm>
            <a:off x="1455167" y="1862911"/>
            <a:ext cx="9297821" cy="2231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Georgia"/>
              <a:buNone/>
            </a:pPr>
            <a:r>
              <a:rPr lang="pt-BR" sz="4000" dirty="0"/>
              <a:t>Visão Geral: </a:t>
            </a:r>
            <a:br>
              <a:rPr lang="pt-BR" sz="4000" dirty="0"/>
            </a:br>
            <a:r>
              <a:rPr lang="pt-BR" sz="4000" dirty="0"/>
              <a:t>Importação de pequeno valor </a:t>
            </a:r>
            <a:br>
              <a:rPr lang="pt-BR" sz="4000" dirty="0"/>
            </a:br>
            <a:r>
              <a:rPr lang="pt-BR" sz="4000" dirty="0"/>
              <a:t>via encomendas internacionais</a:t>
            </a:r>
            <a:endParaRPr sz="2800" dirty="0"/>
          </a:p>
        </p:txBody>
      </p:sp>
      <p:pic>
        <p:nvPicPr>
          <p:cNvPr id="1202" name="Google Shape;1202;p14" descr="Logotipo, nome da empresa&#10;&#10;Descrição gerada automaticamente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05284" y="83807"/>
            <a:ext cx="1622908" cy="169529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905;p4">
            <a:extLst>
              <a:ext uri="{FF2B5EF4-FFF2-40B4-BE49-F238E27FC236}">
                <a16:creationId xmlns:a16="http://schemas.microsoft.com/office/drawing/2014/main" id="{E6F4BC4B-F8CE-A032-2C49-28A13B31CA53}"/>
              </a:ext>
            </a:extLst>
          </p:cNvPr>
          <p:cNvSpPr/>
          <p:nvPr/>
        </p:nvSpPr>
        <p:spPr>
          <a:xfrm>
            <a:off x="11588496" y="6467431"/>
            <a:ext cx="307094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6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>
            <a:extLst>
              <a:ext uri="{FF2B5EF4-FFF2-40B4-BE49-F238E27FC236}">
                <a16:creationId xmlns:a16="http://schemas.microsoft.com/office/drawing/2014/main" id="{14222FC9-4C45-1F91-C6D2-832534A54A05}"/>
              </a:ext>
            </a:extLst>
          </p:cNvPr>
          <p:cNvSpPr/>
          <p:nvPr/>
        </p:nvSpPr>
        <p:spPr>
          <a:xfrm>
            <a:off x="0" y="1122978"/>
            <a:ext cx="12210758" cy="573502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C00000"/>
              </a:solidFill>
            </a:endParaRPr>
          </a:p>
        </p:txBody>
      </p:sp>
      <p:sp>
        <p:nvSpPr>
          <p:cNvPr id="1180" name="Google Shape;1180;p13"/>
          <p:cNvSpPr txBox="1">
            <a:spLocks noGrp="1"/>
          </p:cNvSpPr>
          <p:nvPr>
            <p:ph type="title"/>
          </p:nvPr>
        </p:nvSpPr>
        <p:spPr>
          <a:xfrm>
            <a:off x="596766" y="169959"/>
            <a:ext cx="11528178" cy="731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Georgia"/>
              <a:buNone/>
            </a:pPr>
            <a:r>
              <a:rPr lang="pt-BR" sz="2800" i="1" dirty="0">
                <a:solidFill>
                  <a:schemeClr val="lt1"/>
                </a:solidFill>
              </a:rPr>
              <a:t>Estimativa de Potencial de Arrecadação Anual </a:t>
            </a:r>
            <a:endParaRPr sz="2800" dirty="0">
              <a:solidFill>
                <a:schemeClr val="lt1"/>
              </a:solidFill>
            </a:endParaRPr>
          </a:p>
        </p:txBody>
      </p:sp>
      <p:cxnSp>
        <p:nvCxnSpPr>
          <p:cNvPr id="1181" name="Google Shape;1181;p13"/>
          <p:cNvCxnSpPr/>
          <p:nvPr/>
        </p:nvCxnSpPr>
        <p:spPr>
          <a:xfrm>
            <a:off x="554734" y="1007654"/>
            <a:ext cx="11637266" cy="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3" name="Google Shape;1183;p13"/>
          <p:cNvSpPr txBox="1"/>
          <p:nvPr/>
        </p:nvSpPr>
        <p:spPr>
          <a:xfrm>
            <a:off x="1962364" y="6524090"/>
            <a:ext cx="1818526" cy="2568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4" name="Google Shape;1184;p13"/>
          <p:cNvSpPr txBox="1"/>
          <p:nvPr/>
        </p:nvSpPr>
        <p:spPr>
          <a:xfrm>
            <a:off x="1602769" y="5824279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8" name="Google Shape;1188;p13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7</a:t>
            </a:fld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Google Shape;1202;p14" descr="Logotipo, nome da empresa&#10;&#10;Descrição gerada automaticamente">
            <a:extLst>
              <a:ext uri="{FF2B5EF4-FFF2-40B4-BE49-F238E27FC236}">
                <a16:creationId xmlns:a16="http://schemas.microsoft.com/office/drawing/2014/main" id="{4E3ECB6D-EA26-F34E-F075-FDD7B286BF94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17044" y="47922"/>
            <a:ext cx="970157" cy="101108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2. Slide Title">
            <a:extLst>
              <a:ext uri="{FF2B5EF4-FFF2-40B4-BE49-F238E27FC236}">
                <a16:creationId xmlns:a16="http://schemas.microsoft.com/office/drawing/2014/main" id="{E8B31222-4766-64DE-DCAE-1ED5F69152A0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962364" y="291996"/>
            <a:ext cx="9632870" cy="73152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  <a:defRPr sz="2500" b="1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Georgia"/>
              <a:buNone/>
              <a:tabLst/>
              <a:defRPr/>
            </a:pP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sym typeface="Georgia"/>
              </a:rPr>
              <a:t>C</a:t>
            </a:r>
            <a:r>
              <a:rPr kumimoji="0" lang="pt-BR" sz="28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sym typeface="Georgia"/>
              </a:rPr>
              <a:t>ross-border </a:t>
            </a: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sym typeface="Georgia"/>
              </a:rPr>
              <a:t>cresceu de 2018 a 2022 146,3 %, </a:t>
            </a:r>
            <a:b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sym typeface="Georgia"/>
              </a:rPr>
            </a:br>
            <a:r>
              <a:rPr kumimoji="0" lang="pt-BR" sz="2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sym typeface="Georgia"/>
              </a:rPr>
              <a:t>de acordo com os dados da Receita Federal do Brasil </a:t>
            </a:r>
          </a:p>
        </p:txBody>
      </p:sp>
      <p:sp>
        <p:nvSpPr>
          <p:cNvPr id="6" name="Google Shape;905;p4">
            <a:extLst>
              <a:ext uri="{FF2B5EF4-FFF2-40B4-BE49-F238E27FC236}">
                <a16:creationId xmlns:a16="http://schemas.microsoft.com/office/drawing/2014/main" id="{8A7B0744-A50D-23BF-22C3-17548B5EBD56}"/>
              </a:ext>
            </a:extLst>
          </p:cNvPr>
          <p:cNvSpPr/>
          <p:nvPr/>
        </p:nvSpPr>
        <p:spPr>
          <a:xfrm>
            <a:off x="11588496" y="6467431"/>
            <a:ext cx="307094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7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811C6A42-2D3C-15AA-7B97-AD62A5F8FEF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63536" y="1514970"/>
            <a:ext cx="9909990" cy="4889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02980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5639E61E-215A-9919-289B-4E242425BA38}"/>
              </a:ext>
            </a:extLst>
          </p:cNvPr>
          <p:cNvSpPr/>
          <p:nvPr/>
        </p:nvSpPr>
        <p:spPr>
          <a:xfrm>
            <a:off x="-9085" y="1161031"/>
            <a:ext cx="12210758" cy="573502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rgbClr val="C00000"/>
              </a:solidFill>
            </a:endParaRPr>
          </a:p>
        </p:txBody>
      </p:sp>
      <p:sp>
        <p:nvSpPr>
          <p:cNvPr id="1180" name="Google Shape;1180;p13"/>
          <p:cNvSpPr txBox="1">
            <a:spLocks noGrp="1"/>
          </p:cNvSpPr>
          <p:nvPr>
            <p:ph type="title"/>
          </p:nvPr>
        </p:nvSpPr>
        <p:spPr>
          <a:xfrm>
            <a:off x="596766" y="169959"/>
            <a:ext cx="11528178" cy="7315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Georgia"/>
              <a:buNone/>
            </a:pPr>
            <a:r>
              <a:rPr lang="pt-BR" sz="2800" i="1" dirty="0">
                <a:solidFill>
                  <a:schemeClr val="lt1"/>
                </a:solidFill>
              </a:rPr>
              <a:t>Estimativa de Potencial de Arrecadação Anual </a:t>
            </a:r>
            <a:endParaRPr sz="2800" dirty="0">
              <a:solidFill>
                <a:schemeClr val="lt1"/>
              </a:solidFill>
            </a:endParaRPr>
          </a:p>
        </p:txBody>
      </p:sp>
      <p:cxnSp>
        <p:nvCxnSpPr>
          <p:cNvPr id="1181" name="Google Shape;1181;p13"/>
          <p:cNvCxnSpPr/>
          <p:nvPr/>
        </p:nvCxnSpPr>
        <p:spPr>
          <a:xfrm>
            <a:off x="554734" y="1007654"/>
            <a:ext cx="11637266" cy="0"/>
          </a:xfrm>
          <a:prstGeom prst="straightConnector1">
            <a:avLst/>
          </a:prstGeom>
          <a:noFill/>
          <a:ln w="9525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3" name="Google Shape;1183;p13"/>
          <p:cNvSpPr txBox="1"/>
          <p:nvPr/>
        </p:nvSpPr>
        <p:spPr>
          <a:xfrm>
            <a:off x="1962364" y="6524090"/>
            <a:ext cx="1818526" cy="2568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4" name="Google Shape;1184;p13"/>
          <p:cNvSpPr txBox="1"/>
          <p:nvPr/>
        </p:nvSpPr>
        <p:spPr>
          <a:xfrm>
            <a:off x="1602769" y="5824279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600"/>
              <a:buFont typeface="Arial"/>
              <a:buNone/>
              <a:tabLst/>
              <a:defRPr/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88" name="Google Shape;1188;p13"/>
          <p:cNvSpPr/>
          <p:nvPr/>
        </p:nvSpPr>
        <p:spPr>
          <a:xfrm>
            <a:off x="11312525" y="6498754"/>
            <a:ext cx="325501" cy="1384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9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8</a:t>
            </a:fld>
            <a:endParaRPr kumimoji="0" sz="9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" name="Google Shape;1202;p14" descr="Logotipo, nome da empresa&#10;&#10;Descrição gerada automaticamente">
            <a:extLst>
              <a:ext uri="{FF2B5EF4-FFF2-40B4-BE49-F238E27FC236}">
                <a16:creationId xmlns:a16="http://schemas.microsoft.com/office/drawing/2014/main" id="{4E3ECB6D-EA26-F34E-F075-FDD7B286BF94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14868" y="127307"/>
            <a:ext cx="970157" cy="1011085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2. Slide Title">
            <a:extLst>
              <a:ext uri="{FF2B5EF4-FFF2-40B4-BE49-F238E27FC236}">
                <a16:creationId xmlns:a16="http://schemas.microsoft.com/office/drawing/2014/main" id="{84E84599-ACDB-61E2-D734-FC0484F6A4F3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691128" y="273553"/>
            <a:ext cx="10433816" cy="73152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Georgia"/>
              <a:buNone/>
              <a:defRPr sz="2500" b="1" i="0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Georgia"/>
              <a:buNone/>
              <a:tabLst/>
              <a:defRPr/>
            </a:pPr>
            <a:r>
              <a:rPr kumimoji="0" lang="pt-BR" sz="2300" b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sym typeface="Georgia"/>
              </a:rPr>
              <a:t>Importações de pequeno valor cresceu de 2018 a 2022 cerca 813 %, </a:t>
            </a:r>
            <a:br>
              <a:rPr kumimoji="0" lang="pt-BR" sz="2300" b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sym typeface="Georgia"/>
              </a:rPr>
            </a:br>
            <a:r>
              <a:rPr kumimoji="0" lang="pt-BR" sz="2300" b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sym typeface="Georgia"/>
              </a:rPr>
              <a:t>de acordo com os dados do Banco Central do Brasil </a:t>
            </a:r>
          </a:p>
        </p:txBody>
      </p:sp>
      <p:sp>
        <p:nvSpPr>
          <p:cNvPr id="6" name="Google Shape;905;p4">
            <a:extLst>
              <a:ext uri="{FF2B5EF4-FFF2-40B4-BE49-F238E27FC236}">
                <a16:creationId xmlns:a16="http://schemas.microsoft.com/office/drawing/2014/main" id="{680CF8F2-81F5-C7DF-9C65-D2A596CB38C8}"/>
              </a:ext>
            </a:extLst>
          </p:cNvPr>
          <p:cNvSpPr/>
          <p:nvPr/>
        </p:nvSpPr>
        <p:spPr>
          <a:xfrm>
            <a:off x="11588496" y="6467431"/>
            <a:ext cx="307094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8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id="{3FBFF39E-B86D-2D76-73B0-42F9376C94D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9599" y="1704884"/>
            <a:ext cx="10685771" cy="4217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6023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9" name="Google Shape;1199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220815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00" name="Google Shape;1200;p14"/>
          <p:cNvSpPr txBox="1">
            <a:spLocks noGrp="1"/>
          </p:cNvSpPr>
          <p:nvPr>
            <p:ph type="title"/>
          </p:nvPr>
        </p:nvSpPr>
        <p:spPr>
          <a:xfrm>
            <a:off x="1534834" y="2313214"/>
            <a:ext cx="9297821" cy="22315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Georgia"/>
              <a:buNone/>
            </a:pPr>
            <a:r>
              <a:rPr lang="pt-BR" sz="4000" dirty="0"/>
              <a:t>Impacto na arrecadação das</a:t>
            </a:r>
            <a:br>
              <a:rPr lang="pt-BR" sz="4000" dirty="0"/>
            </a:br>
            <a:r>
              <a:rPr lang="pt-BR" sz="4000" dirty="0"/>
              <a:t>importações de pequeno valor via encomendas internacionais</a:t>
            </a:r>
            <a:endParaRPr sz="2800" dirty="0"/>
          </a:p>
        </p:txBody>
      </p:sp>
      <p:pic>
        <p:nvPicPr>
          <p:cNvPr id="1202" name="Google Shape;1202;p14" descr="Logotipo, nome da empresa&#10;&#10;Descrição gerada automaticamente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05284" y="83807"/>
            <a:ext cx="1622908" cy="1695298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Google Shape;905;p4">
            <a:extLst>
              <a:ext uri="{FF2B5EF4-FFF2-40B4-BE49-F238E27FC236}">
                <a16:creationId xmlns:a16="http://schemas.microsoft.com/office/drawing/2014/main" id="{244E448E-D7F3-136D-9E4F-529412C5B0A6}"/>
              </a:ext>
            </a:extLst>
          </p:cNvPr>
          <p:cNvSpPr/>
          <p:nvPr/>
        </p:nvSpPr>
        <p:spPr>
          <a:xfrm>
            <a:off x="11588496" y="6467431"/>
            <a:ext cx="307094" cy="1615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900"/>
              <a:buFont typeface="Arial"/>
              <a:buNone/>
              <a:tabLst/>
              <a:defRPr/>
            </a:pPr>
            <a:fld id="{00000000-1234-1234-1234-123412341234}" type="slidenum">
              <a:rPr kumimoji="0" lang="pt-BR" sz="10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900"/>
                <a:buFont typeface="Arial"/>
                <a:buNone/>
                <a:tabLst/>
                <a:defRPr/>
              </a:pPr>
              <a:t>9</a:t>
            </a:fld>
            <a:endParaRPr kumimoji="0" sz="105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086085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5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traight Connector 17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lT7lGQomWkE8tnMs3lw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heme/theme1.xml><?xml version="1.0" encoding="utf-8"?>
<a:theme xmlns:a="http://schemas.openxmlformats.org/drawingml/2006/main" name="60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rtlCol="0" anchor="ctr"/>
      <a:lstStyle>
        <a:defPPr algn="ctr">
          <a:defRPr>
            <a:solidFill>
              <a:srgbClr val="C00000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59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Template_16x9.potx" id="{8A777866-4352-4EDD-A5CA-D188E776C30D}" vid="{8453CF59-ED93-474C-8AFE-ED66DC82D46F}"/>
    </a:ext>
  </a:extLst>
</a:theme>
</file>

<file path=ppt/theme/theme3.xml><?xml version="1.0" encoding="utf-8"?>
<a:theme xmlns:a="http://schemas.openxmlformats.org/drawingml/2006/main" name="9_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39BDF3"/>
    </a:custClr>
    <a:custClr name="Linear 6">
      <a:srgbClr val="71D2F1"/>
    </a:custClr>
    <a:custClr name="Linear 7 (Pale Blue)">
      <a:srgbClr val="AAE6F0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F458607B-D058-4AFA-BEDF-3C59AC44E0BD}" vid="{5EEBCEC3-795F-49CE-BA53-1323E1D3F641}"/>
    </a:ext>
  </a:extLst>
</a:theme>
</file>

<file path=ppt/theme/theme4.xml><?xml version="1.0" encoding="utf-8"?>
<a:theme xmlns:a="http://schemas.openxmlformats.org/drawingml/2006/main" name="55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 Firm Template_16x9.potx" id="{8A777866-4352-4EDD-A5CA-D188E776C30D}" vid="{8453CF59-ED93-474C-8AFE-ED66DC82D46F}"/>
    </a:ext>
  </a:extLst>
</a:theme>
</file>

<file path=ppt/theme/theme5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36</TotalTime>
  <Words>1345</Words>
  <Application>Microsoft Office PowerPoint</Application>
  <PresentationFormat>Widescreen</PresentationFormat>
  <Paragraphs>234</Paragraphs>
  <Slides>22</Slides>
  <Notes>16</Notes>
  <HiddenSlides>0</HiddenSlides>
  <MMClips>0</MMClips>
  <ScaleCrop>false</ScaleCrop>
  <HeadingPairs>
    <vt:vector size="8" baseType="variant">
      <vt:variant>
        <vt:lpstr>Fontes usadas</vt:lpstr>
      </vt:variant>
      <vt:variant>
        <vt:i4>14</vt:i4>
      </vt:variant>
      <vt:variant>
        <vt:lpstr>Tema</vt:lpstr>
      </vt:variant>
      <vt:variant>
        <vt:i4>4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2</vt:i4>
      </vt:variant>
    </vt:vector>
  </HeadingPairs>
  <TitlesOfParts>
    <vt:vector size="41" baseType="lpstr">
      <vt:lpstr>Aptos</vt:lpstr>
      <vt:lpstr>Aptos Black</vt:lpstr>
      <vt:lpstr>Arial</vt:lpstr>
      <vt:lpstr>Calibri</vt:lpstr>
      <vt:lpstr>Georgia</vt:lpstr>
      <vt:lpstr>Montserrat ExtraBold</vt:lpstr>
      <vt:lpstr>Montserrat Light</vt:lpstr>
      <vt:lpstr>Noto Sans Symbols</vt:lpstr>
      <vt:lpstr>Poppins</vt:lpstr>
      <vt:lpstr>Poppins Light</vt:lpstr>
      <vt:lpstr>Poppins Medium</vt:lpstr>
      <vt:lpstr>Quattrocento Sans</vt:lpstr>
      <vt:lpstr>Segoe UI</vt:lpstr>
      <vt:lpstr>Wingdings</vt:lpstr>
      <vt:lpstr>60_Contrast</vt:lpstr>
      <vt:lpstr>59_Contrast</vt:lpstr>
      <vt:lpstr>9_White</vt:lpstr>
      <vt:lpstr>55_Contrast</vt:lpstr>
      <vt:lpstr>think-cell Slide</vt:lpstr>
      <vt:lpstr>Apresentação do PowerPoint</vt:lpstr>
      <vt:lpstr>Quem somos</vt:lpstr>
      <vt:lpstr>Apresentação do PowerPoint</vt:lpstr>
      <vt:lpstr>Apresentação do PowerPoint</vt:lpstr>
      <vt:lpstr>Representatividade  IDV</vt:lpstr>
      <vt:lpstr>Visão Geral:  Importação de pequeno valor  via encomendas internacionais</vt:lpstr>
      <vt:lpstr>Estimativa de Potencial de Arrecadação Anual </vt:lpstr>
      <vt:lpstr>Estimativa de Potencial de Arrecadação Anual </vt:lpstr>
      <vt:lpstr>Impacto na arrecadação das importações de pequeno valor via encomendas internacionais</vt:lpstr>
      <vt:lpstr>Apresentação do PowerPoint</vt:lpstr>
      <vt:lpstr>Estudo sobre a carga tributária residual brasileira na cadeira produtiva – IBPT  </vt:lpstr>
      <vt:lpstr>Apresentação do PowerPoint</vt:lpstr>
      <vt:lpstr>Apresentação do PowerPoint</vt:lpstr>
      <vt:lpstr>Apresentação do PowerPoint</vt:lpstr>
      <vt:lpstr>Estimativa de Potencial de Arrecadação Anual </vt:lpstr>
      <vt:lpstr>Estimativa de Potencial de Arrecadação Anual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Obrigado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ortação de pequeno valor via encomendas internacionais</dc:title>
  <dc:creator>Alecsandro Araujo</dc:creator>
  <cp:lastModifiedBy>Marcela Rivas</cp:lastModifiedBy>
  <cp:revision>40</cp:revision>
  <dcterms:created xsi:type="dcterms:W3CDTF">2023-09-25T16:11:26Z</dcterms:created>
  <dcterms:modified xsi:type="dcterms:W3CDTF">2023-10-03T17:56:36Z</dcterms:modified>
</cp:coreProperties>
</file>